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notesMasterIdLst>
    <p:notesMasterId r:id="rId30"/>
  </p:notesMasterIdLst>
  <p:handoutMasterIdLst>
    <p:handoutMasterId r:id="rId31"/>
  </p:handoutMasterIdLst>
  <p:sldIdLst>
    <p:sldId id="3482" r:id="rId5"/>
    <p:sldId id="269" r:id="rId6"/>
    <p:sldId id="3480" r:id="rId7"/>
    <p:sldId id="3483" r:id="rId8"/>
    <p:sldId id="3484" r:id="rId9"/>
    <p:sldId id="3485" r:id="rId10"/>
    <p:sldId id="3500" r:id="rId11"/>
    <p:sldId id="3487" r:id="rId12"/>
    <p:sldId id="3471" r:id="rId13"/>
    <p:sldId id="3486" r:id="rId14"/>
    <p:sldId id="3488" r:id="rId15"/>
    <p:sldId id="3490" r:id="rId16"/>
    <p:sldId id="3491" r:id="rId17"/>
    <p:sldId id="3492" r:id="rId18"/>
    <p:sldId id="3481" r:id="rId19"/>
    <p:sldId id="3472" r:id="rId20"/>
    <p:sldId id="3493" r:id="rId21"/>
    <p:sldId id="3499" r:id="rId22"/>
    <p:sldId id="3494" r:id="rId23"/>
    <p:sldId id="3496" r:id="rId24"/>
    <p:sldId id="3497" r:id="rId25"/>
    <p:sldId id="3498" r:id="rId26"/>
    <p:sldId id="3501" r:id="rId27"/>
    <p:sldId id="3502" r:id="rId28"/>
    <p:sldId id="1071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6955F314-38EB-BF18-5D6A-B17B9B564ABA}" name="Chow, Kit Ian" initials="CK" userId="S::kichow@deloitte.com::456e0fbb-015e-40b3-868d-39da927d5fdc" providerId="AD"/>
  <p188:author id="{832F8C54-27E5-844D-E4CB-FEA3F78ED28E}" name="Ong, Siew Yong" initials="OY" userId="S::sieong@deloitte.com::3612a996-1cb5-47dd-a6f6-545f6f5b9727" providerId="AD"/>
  <p188:author id="{4F6CCA87-2A53-82AD-CBB4-81C3F4DA13C4}" name="Yahaya, Nursyeha" initials="YN" userId="S::nuryahaya@deloitte.com::5a2a3479-d83b-4c7e-b295-3244bbdc015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BBCBC"/>
    <a:srgbClr val="FFFFFF"/>
    <a:srgbClr val="A0DCFF"/>
    <a:srgbClr val="86BC25"/>
    <a:srgbClr val="009A44"/>
    <a:srgbClr val="43B02A"/>
    <a:srgbClr val="C0C0C0"/>
    <a:srgbClr val="0097A9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83" d="100"/>
          <a:sy n="83" d="100"/>
        </p:scale>
        <p:origin x="36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CCD1A45-EC17-EAF7-F706-8C8C5DCE9D2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11459-5FF1-24C9-8BE6-81D211C3D4A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D325A0-5A2E-4178-86B3-2F1F8D76DFE7}" type="datetimeFigureOut">
              <a:rPr lang="en-US" smtClean="0"/>
              <a:t>6/2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01F1BE-39C5-9364-0525-86C1646E0F6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E5D6AD-5FF3-2493-C610-BA7E9D99769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912F9F-261A-40DA-8DF4-14E475759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563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44A8C7-13FB-4767-83CD-559BD60E08BE}" type="datetimeFigureOut">
              <a:rPr lang="en-US" smtClean="0"/>
              <a:t>6/2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0A6709-A3B9-41C4-914A-18F0E0EECD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35454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E93364-3CD5-A8F5-54FB-9183E7B476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103636-2B83-E169-A220-809B46FB0C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2082CC-627D-6202-B97F-0643AB569E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E177A4-608A-0EA9-9A58-6E5C0F2364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6340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0501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71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157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C61EFE-A09F-1A83-271C-230044E857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A5728A-AE2B-F40A-F506-08A03DB2BC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96DC66-7D52-8BD9-7F81-F18B95372B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876744-1289-505A-42E8-2E6A6DCC17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4682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27077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1346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C61EFE-A09F-1A83-271C-230044E857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A5728A-AE2B-F40A-F506-08A03DB2BC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96DC66-7D52-8BD9-7F81-F18B95372B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876744-1289-505A-42E8-2E6A6DCC17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3979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3765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0106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24690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04423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9047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C61EFE-A09F-1A83-271C-230044E857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A5728A-AE2B-F40A-F506-08A03DB2BC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96DC66-7D52-8BD9-7F81-F18B95372B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876744-1289-505A-42E8-2E6A6DCC17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3137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46889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35000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E93364-3CD5-A8F5-54FB-9183E7B476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103636-2B83-E169-A220-809B46FB0C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2082CC-627D-6202-B97F-0643AB569E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E177A4-608A-0EA9-9A58-6E5C0F2364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7992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6998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E93364-3CD5-A8F5-54FB-9183E7B476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103636-2B83-E169-A220-809B46FB0C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2082CC-627D-6202-B97F-0643AB569E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E177A4-608A-0EA9-9A58-6E5C0F2364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0309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51099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9051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6789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0A6709-A3B9-41C4-914A-18F0E0EECD9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0116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624303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Deloitte whit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4443984" cy="1592403"/>
          </a:xfrm>
        </p:spPr>
        <p:txBody>
          <a:bodyPr anchor="b"/>
          <a:lstStyle>
            <a:lvl1pPr>
              <a:lnSpc>
                <a:spcPct val="95000"/>
              </a:lnSpc>
              <a:defRPr sz="4400" b="1">
                <a:solidFill>
                  <a:srgbClr val="86BC25"/>
                </a:solidFill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444398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pic>
        <p:nvPicPr>
          <p:cNvPr id="4" name="Picture 3" descr="A circular object with a circuit board&#10;&#10;AI-generated content may be incorrect.">
            <a:extLst>
              <a:ext uri="{FF2B5EF4-FFF2-40B4-BE49-F238E27FC236}">
                <a16:creationId xmlns:a16="http://schemas.microsoft.com/office/drawing/2014/main" id="{46B0EAEE-61AB-3E7F-4598-E86E56C5BC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56" r="22303" b="8056"/>
          <a:stretch/>
        </p:blipFill>
        <p:spPr>
          <a:xfrm>
            <a:off x="5840209" y="0"/>
            <a:ext cx="63517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1710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latin typeface="Aptos" panose="020B000402020202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>
            <a:lvl1pPr>
              <a:defRPr>
                <a:latin typeface="Aptos" panose="020B00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>
                <a:latin typeface="Aptos" panose="020B00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5390654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Aptos" panose="020B0004020202020204" pitchFamily="34" charset="0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Aptos" panose="020B0004020202020204" pitchFamily="34" charset="0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Aptos" panose="020B0004020202020204" pitchFamily="34" charset="0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Aptos" panose="020B0004020202020204" pitchFamily="34" charset="0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Aptos" panose="020B0004020202020204" pitchFamily="34" charset="0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Aptos" panose="020B0004020202020204" pitchFamily="34" charset="0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Aptos" panose="020B0004020202020204" pitchFamily="34" charset="0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Aptos" panose="020B0004020202020204" pitchFamily="34" charset="0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2545617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Aptos" panose="020B0004020202020204" pitchFamily="34" charset="0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Aptos" panose="020B0004020202020204" pitchFamily="34" charset="0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Aptos" panose="020B0004020202020204" pitchFamily="34" charset="0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Aptos" panose="020B0004020202020204" pitchFamily="34" charset="0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>
            <a:lvl1pPr>
              <a:defRPr>
                <a:latin typeface="Aptos" panose="020B0004020202020204" pitchFamily="34" charset="0"/>
              </a:defRPr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>
            <a:lvl1pPr>
              <a:defRPr>
                <a:latin typeface="Aptos" panose="020B00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4974624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67524C-D7B8-58E8-E736-9B7E40E04D2A}"/>
              </a:ext>
            </a:extLst>
          </p:cNvPr>
          <p:cNvSpPr txBox="1"/>
          <p:nvPr userDrawn="1"/>
        </p:nvSpPr>
        <p:spPr>
          <a:xfrm>
            <a:off x="11410953" y="6477000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71893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67524C-D7B8-58E8-E736-9B7E40E04D2A}"/>
              </a:ext>
            </a:extLst>
          </p:cNvPr>
          <p:cNvSpPr txBox="1"/>
          <p:nvPr userDrawn="1"/>
        </p:nvSpPr>
        <p:spPr>
          <a:xfrm>
            <a:off x="11410953" y="6477000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</a:endParaRP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C6D47415-99D5-252A-12A6-91BE84D401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119092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099893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238025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D78307-4051-12E1-18C2-1D7BAA92BEA7}"/>
              </a:ext>
            </a:extLst>
          </p:cNvPr>
          <p:cNvSpPr txBox="1"/>
          <p:nvPr userDrawn="1"/>
        </p:nvSpPr>
        <p:spPr>
          <a:xfrm>
            <a:off x="469900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SG" sz="900" dirty="0">
                <a:solidFill>
                  <a:schemeClr val="bg1"/>
                </a:solidFill>
                <a:latin typeface="Aptos" panose="020B0004020202020204" pitchFamily="34" charset="0"/>
              </a:rPr>
              <a:t>CM1040 Web Development Mid Term Coursework</a:t>
            </a:r>
          </a:p>
        </p:txBody>
      </p:sp>
    </p:spTree>
    <p:extLst>
      <p:ext uri="{BB962C8B-B14F-4D97-AF65-F5344CB8AC3E}">
        <p14:creationId xmlns:p14="http://schemas.microsoft.com/office/powerpoint/2010/main" val="3535060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915" r:id="rId2"/>
    <p:sldLayoutId id="2147483667" r:id="rId3"/>
    <p:sldLayoutId id="2147483668" r:id="rId4"/>
    <p:sldLayoutId id="2147483669" r:id="rId5"/>
    <p:sldLayoutId id="2147483674" r:id="rId6"/>
    <p:sldLayoutId id="2147483916" r:id="rId7"/>
    <p:sldLayoutId id="2147483677" r:id="rId8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bg1"/>
          </a:solidFill>
          <a:latin typeface="Aptos" panose="020B0004020202020204" pitchFamily="34" charset="0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bg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bg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bg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bg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bg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0" orient="horz" pos="4081">
          <p15:clr>
            <a:srgbClr val="F26B43"/>
          </p15:clr>
        </p15:guide>
        <p15:guide id="46" orient="horz" pos="4020">
          <p15:clr>
            <a:srgbClr val="F26B43"/>
          </p15:clr>
        </p15:guide>
        <p15:guide id="51" orient="horz" pos="4080">
          <p15:clr>
            <a:srgbClr val="F26B43"/>
          </p15:clr>
        </p15:guide>
        <p15:guide id="52" pos="3840">
          <p15:clr>
            <a:srgbClr val="F26B43"/>
          </p15:clr>
        </p15:guide>
        <p15:guide id="53" pos="3912">
          <p15:clr>
            <a:srgbClr val="F26B43"/>
          </p15:clr>
        </p15:guide>
        <p15:guide id="54" pos="3768">
          <p15:clr>
            <a:srgbClr val="F26B43"/>
          </p15:clr>
        </p15:guide>
        <p15:guide id="55" pos="4968">
          <p15:clr>
            <a:srgbClr val="F26B43"/>
          </p15:clr>
        </p15:guide>
        <p15:guide id="56" pos="5088">
          <p15:clr>
            <a:srgbClr val="F26B43"/>
          </p15:clr>
        </p15:guide>
        <p15:guide id="57" pos="6168">
          <p15:clr>
            <a:srgbClr val="F26B43"/>
          </p15:clr>
        </p15:guide>
        <p15:guide id="58" pos="6288">
          <p15:clr>
            <a:srgbClr val="F26B43"/>
          </p15:clr>
        </p15:guide>
        <p15:guide id="59" pos="2712">
          <p15:clr>
            <a:srgbClr val="F26B43"/>
          </p15:clr>
        </p15:guide>
        <p15:guide id="60" pos="2592">
          <p15:clr>
            <a:srgbClr val="F26B43"/>
          </p15:clr>
        </p15:guide>
        <p15:guide id="61" pos="1512">
          <p15:clr>
            <a:srgbClr val="F26B43"/>
          </p15:clr>
        </p15:guide>
        <p15:guide id="62" pos="1392">
          <p15:clr>
            <a:srgbClr val="F26B43"/>
          </p15:clr>
        </p15:guide>
        <p15:guide id="63" pos="312">
          <p15:clr>
            <a:srgbClr val="F26B43"/>
          </p15:clr>
        </p15:guide>
        <p15:guide id="64" orient="horz" pos="1056">
          <p15:clr>
            <a:srgbClr val="F26B43"/>
          </p15:clr>
        </p15:guide>
        <p15:guide id="65" orient="horz" pos="2232">
          <p15:clr>
            <a:srgbClr val="F26B43"/>
          </p15:clr>
        </p15:guide>
        <p15:guide id="66" orient="horz" pos="1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79C805-2E29-C9DD-5986-EFC93513BB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sz="4000" dirty="0"/>
              <a:t>Weather Ap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4529D3-6A4B-A155-19E2-DA298468D3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G" sz="2000" dirty="0"/>
              <a:t>By Ian Chow</a:t>
            </a:r>
          </a:p>
          <a:p>
            <a:r>
              <a:rPr lang="en-SG" sz="2000" dirty="0"/>
              <a:t>Course Title: CM1040 Web Development</a:t>
            </a:r>
          </a:p>
          <a:p>
            <a:r>
              <a:rPr lang="en-SG" sz="2000" dirty="0"/>
              <a:t>Assessment: Mid Term Coursework 1</a:t>
            </a:r>
          </a:p>
          <a:p>
            <a:endParaRPr lang="en-SG" sz="2000" dirty="0"/>
          </a:p>
        </p:txBody>
      </p:sp>
    </p:spTree>
    <p:extLst>
      <p:ext uri="{BB962C8B-B14F-4D97-AF65-F5344CB8AC3E}">
        <p14:creationId xmlns:p14="http://schemas.microsoft.com/office/powerpoint/2010/main" val="2982339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109E931-AF30-D327-F57A-AD10C802B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GB" b="1" dirty="0"/>
              <a:t>Comparison of different layouts </a:t>
            </a:r>
            <a:endParaRPr lang="en-US" b="1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4ED4E1C-1EE0-AC80-C823-83B5F804BF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4570" y="2066112"/>
            <a:ext cx="8153335" cy="333215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8A30CDA-54B9-B442-472B-9817B5F455D8}"/>
              </a:ext>
            </a:extLst>
          </p:cNvPr>
          <p:cNvSpPr txBox="1"/>
          <p:nvPr/>
        </p:nvSpPr>
        <p:spPr>
          <a:xfrm>
            <a:off x="4157433" y="1459734"/>
            <a:ext cx="387713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SG" dirty="0">
                <a:solidFill>
                  <a:schemeClr val="bg1"/>
                </a:solidFill>
              </a:rPr>
              <a:t>Desktop Layout: Width &gt;= 992px</a:t>
            </a:r>
          </a:p>
        </p:txBody>
      </p:sp>
    </p:spTree>
    <p:extLst>
      <p:ext uri="{BB962C8B-B14F-4D97-AF65-F5344CB8AC3E}">
        <p14:creationId xmlns:p14="http://schemas.microsoft.com/office/powerpoint/2010/main" val="309237702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F62602-3D4B-0206-EEA1-024554E124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A32C687-4E57-8F5E-BE1A-4DB8CE8AA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334099"/>
          </a:xfrm>
        </p:spPr>
        <p:txBody>
          <a:bodyPr/>
          <a:lstStyle/>
          <a:p>
            <a:r>
              <a:rPr lang="en-GB" b="1" dirty="0"/>
              <a:t>Raw CSS Grid vs CSS Frameworks – Which Handles Responsiveness Better?</a:t>
            </a:r>
            <a:endParaRPr lang="en-US" b="1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CC687FE-36D3-3A12-170A-DDFC5B76F150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501650" y="1070768"/>
            <a:ext cx="5205087" cy="5385116"/>
          </a:xfrm>
        </p:spPr>
        <p:txBody>
          <a:bodyPr vert="horz" lIns="0" tIns="0" rIns="0" bIns="0" rtlCol="0" anchor="t">
            <a:noAutofit/>
          </a:bodyPr>
          <a:lstStyle/>
          <a:p>
            <a:pPr marL="0" lvl="7" indent="0">
              <a:buNone/>
            </a:pP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I compared 2 layout approaches to explore responsive design</a:t>
            </a:r>
          </a:p>
          <a:p>
            <a:pPr marL="342900" lvl="7" indent="-342900">
              <a:buFont typeface="+mj-lt"/>
              <a:buAutoNum type="arabicPeriod"/>
            </a:pP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Raw CSS Grid + Media Queries</a:t>
            </a:r>
          </a:p>
          <a:p>
            <a:pPr marL="342900" lvl="7" indent="-342900">
              <a:buFont typeface="+mj-lt"/>
              <a:buAutoNum type="arabicPeriod"/>
            </a:pP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Bootstrap 5 Grid System (CSS Framework)</a:t>
            </a:r>
          </a:p>
          <a:p>
            <a:pPr marL="0" lvl="7" indent="0">
              <a:buNone/>
            </a:pP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  <a:p>
            <a:pPr marL="0" lvl="7" indent="0">
              <a:buNone/>
            </a:pPr>
            <a:r>
              <a: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Raw CSS Grid (example)</a:t>
            </a:r>
          </a:p>
          <a:p>
            <a:pPr marL="285750" lvl="7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Manual control over breakpoints using @media queries</a:t>
            </a:r>
          </a:p>
          <a:p>
            <a:pPr marL="285750" lvl="7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Custom grid-template-columns and layout logic</a:t>
            </a:r>
          </a:p>
          <a:p>
            <a:pPr marL="285750" lvl="7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Mobile-first: Start with 1 column, add more at wider widths</a:t>
            </a:r>
          </a:p>
          <a:p>
            <a:r>
              <a:rPr lang="en-SG" sz="12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@media</a:t>
            </a:r>
            <a:r>
              <a:rPr lang="en-SG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SG" sz="12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in-width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600px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{</a:t>
            </a:r>
          </a:p>
          <a:p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D7BA7D"/>
                </a:solidFill>
                <a:effectLst/>
                <a:latin typeface="Consolas" panose="020B0609020204030204" pitchFamily="49" charset="0"/>
              </a:rPr>
              <a:t>.container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{ </a:t>
            </a:r>
            <a:r>
              <a:rPr lang="en-SG" sz="12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grid-template-columns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dirty="0">
                <a:solidFill>
                  <a:srgbClr val="CE9178"/>
                </a:solidFill>
                <a:latin typeface="Consolas" panose="020B0609020204030204" pitchFamily="49" charset="0"/>
              </a:rPr>
              <a:t>1fr </a:t>
            </a:r>
            <a:r>
              <a:rPr lang="en-SG" sz="1200" dirty="0" err="1">
                <a:solidFill>
                  <a:srgbClr val="CE9178"/>
                </a:solidFill>
                <a:latin typeface="Consolas" panose="020B0609020204030204" pitchFamily="49" charset="0"/>
              </a:rPr>
              <a:t>1fr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; }</a:t>
            </a:r>
          </a:p>
          <a:p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r>
              <a:rPr lang="en-SG" sz="12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@media</a:t>
            </a:r>
            <a:r>
              <a:rPr lang="en-SG" sz="1200" dirty="0">
                <a:solidFill>
                  <a:srgbClr val="CCCCCC"/>
                </a:solidFill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SG" sz="12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in-width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992px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{</a:t>
            </a:r>
          </a:p>
          <a:p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D7BA7D"/>
                </a:solidFill>
                <a:effectLst/>
                <a:latin typeface="Consolas" panose="020B0609020204030204" pitchFamily="49" charset="0"/>
              </a:rPr>
              <a:t>.container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{ </a:t>
            </a:r>
            <a:r>
              <a:rPr lang="en-SG" sz="12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grid-template-columns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dirty="0">
                <a:solidFill>
                  <a:srgbClr val="CE9178"/>
                </a:solidFill>
                <a:latin typeface="Consolas" panose="020B0609020204030204" pitchFamily="49" charset="0"/>
              </a:rPr>
              <a:t>1fr </a:t>
            </a:r>
            <a:r>
              <a:rPr lang="en-SG" sz="1200" dirty="0" err="1">
                <a:solidFill>
                  <a:srgbClr val="CE9178"/>
                </a:solidFill>
                <a:latin typeface="Consolas" panose="020B0609020204030204" pitchFamily="49" charset="0"/>
              </a:rPr>
              <a:t>1fr</a:t>
            </a:r>
            <a:r>
              <a:rPr lang="en-SG" sz="1200" dirty="0">
                <a:solidFill>
                  <a:srgbClr val="CE9178"/>
                </a:solidFill>
                <a:latin typeface="Consolas" panose="020B0609020204030204" pitchFamily="49" charset="0"/>
              </a:rPr>
              <a:t> </a:t>
            </a:r>
            <a:r>
              <a:rPr lang="en-SG" sz="1200" dirty="0" err="1">
                <a:solidFill>
                  <a:srgbClr val="CE9178"/>
                </a:solidFill>
                <a:latin typeface="Consolas" panose="020B0609020204030204" pitchFamily="49" charset="0"/>
              </a:rPr>
              <a:t>1fr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; }</a:t>
            </a:r>
          </a:p>
          <a:p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endParaRPr lang="en-SG" sz="12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  <a:p>
            <a:pPr marL="0" lvl="7" indent="0">
              <a:buNone/>
            </a:pP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EF95AC55-5140-AA1A-E0C4-BE88B614C8A5}"/>
              </a:ext>
            </a:extLst>
          </p:cNvPr>
          <p:cNvSpPr txBox="1">
            <a:spLocks/>
          </p:cNvSpPr>
          <p:nvPr/>
        </p:nvSpPr>
        <p:spPr>
          <a:xfrm>
            <a:off x="6417327" y="1070768"/>
            <a:ext cx="5205087" cy="53851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7" indent="0">
              <a:buNone/>
            </a:pPr>
            <a:r>
              <a:rPr lang="en-US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Bootstrap 5 Grid System</a:t>
            </a:r>
          </a:p>
          <a:p>
            <a:pPr marL="0" lvl="7" indent="0">
              <a:buNone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Uses predefined breakpoints (.col-</a:t>
            </a:r>
            <a:r>
              <a:rPr lang="en-US" sz="1400" dirty="0" err="1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sm</a:t>
            </a: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-*, .col-md-*, .col-lg-*)</a:t>
            </a:r>
          </a:p>
          <a:p>
            <a:pPr marL="0" lvl="7" indent="0">
              <a:buNone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Built-in mobile-first design with flexbox layout</a:t>
            </a:r>
          </a:p>
          <a:p>
            <a:pPr marL="0" lvl="7" indent="0">
              <a:buNone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Faster to implement, but less control over adjustments of styles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div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"row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&lt;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div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"col-12 col-md-6 col-lg-4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Column&lt;/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div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...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lt;/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div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2099488677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109E931-AF30-D327-F57A-AD10C802B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GB" b="1" dirty="0"/>
              <a:t>Comparison of different layouts in Bootstrap </a:t>
            </a:r>
            <a:endParaRPr lang="en-US" b="1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6C778ED-2DA9-E1EF-16CC-25740EABE803}"/>
              </a:ext>
            </a:extLst>
          </p:cNvPr>
          <p:cNvSpPr txBox="1"/>
          <p:nvPr/>
        </p:nvSpPr>
        <p:spPr>
          <a:xfrm>
            <a:off x="6941430" y="1109644"/>
            <a:ext cx="387713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SG" dirty="0">
                <a:solidFill>
                  <a:schemeClr val="bg1"/>
                </a:solidFill>
              </a:rPr>
              <a:t>Tablet Layout: Width &gt;= 600px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C0334B-18CA-94C6-14D5-0A310E6C048C}"/>
              </a:ext>
            </a:extLst>
          </p:cNvPr>
          <p:cNvSpPr txBox="1"/>
          <p:nvPr/>
        </p:nvSpPr>
        <p:spPr>
          <a:xfrm>
            <a:off x="830147" y="1109643"/>
            <a:ext cx="387713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SG" dirty="0">
                <a:solidFill>
                  <a:schemeClr val="bg1"/>
                </a:solidFill>
              </a:rPr>
              <a:t>Phone Layout: Width &lt; 600px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E8F6F16-77A0-5B15-AB5D-991B6313BE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807" y="1678836"/>
            <a:ext cx="4991357" cy="404515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D8D2847-871D-2A5E-3A7D-DB76869008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5156" y="1678836"/>
            <a:ext cx="5520031" cy="4045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763648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109E931-AF30-D327-F57A-AD10C802B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GB" b="1" dirty="0"/>
              <a:t>Comparison of different layouts in Bootstrap </a:t>
            </a:r>
            <a:endParaRPr lang="en-US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A30CDA-54B9-B442-472B-9817B5F455D8}"/>
              </a:ext>
            </a:extLst>
          </p:cNvPr>
          <p:cNvSpPr txBox="1"/>
          <p:nvPr/>
        </p:nvSpPr>
        <p:spPr>
          <a:xfrm>
            <a:off x="4157433" y="1459734"/>
            <a:ext cx="387713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SG" dirty="0">
                <a:solidFill>
                  <a:schemeClr val="bg1"/>
                </a:solidFill>
              </a:rPr>
              <a:t>Desktop Layout: Width &gt;= 992px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8A6DD42-541D-C763-4839-D2A60E0215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8678" y="2137045"/>
            <a:ext cx="10134644" cy="3261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28381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F62602-3D4B-0206-EEA1-024554E124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A32C687-4E57-8F5E-BE1A-4DB8CE8AA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334099"/>
          </a:xfrm>
        </p:spPr>
        <p:txBody>
          <a:bodyPr/>
          <a:lstStyle/>
          <a:p>
            <a:pPr algn="ctr"/>
            <a:r>
              <a:rPr lang="en-GB" b="1" dirty="0"/>
              <a:t>How do Raw CSS and Bootstrap Compare for Responsive Layouts?</a:t>
            </a:r>
            <a:endParaRPr lang="en-US" b="1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CC687FE-36D3-3A12-170A-DDFC5B76F150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501651" y="798722"/>
            <a:ext cx="3486456" cy="5385116"/>
          </a:xfrm>
        </p:spPr>
        <p:txBody>
          <a:bodyPr vert="horz" lIns="0" tIns="0" rIns="0" bIns="0" rtlCol="0" anchor="t">
            <a:noAutofit/>
          </a:bodyPr>
          <a:lstStyle/>
          <a:p>
            <a:pPr marL="0" lvl="7" indent="0">
              <a:buNone/>
            </a:pPr>
            <a:r>
              <a:rPr lang="en-SG" sz="16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Test Conditions Recap:</a:t>
            </a:r>
          </a:p>
          <a:p>
            <a:pPr marL="285750" lvl="7" indent="-285750"/>
            <a:r>
              <a:rPr lang="en-SG" sz="16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Layouts viewed on 3 screen sizes: </a:t>
            </a:r>
          </a:p>
          <a:p>
            <a:pPr marL="285750" lvl="8" indent="-285750">
              <a:buFont typeface="Arial" panose="020B0604020202020204" pitchFamily="34" charset="0"/>
              <a:buChar char="•"/>
            </a:pPr>
            <a:r>
              <a:rPr lang="en-SG" sz="16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 Mobile (&lt; 600px)</a:t>
            </a:r>
          </a:p>
          <a:p>
            <a:pPr marL="285750" lvl="8" indent="-285750">
              <a:buFont typeface="Arial" panose="020B0604020202020204" pitchFamily="34" charset="0"/>
              <a:buChar char="•"/>
            </a:pPr>
            <a:r>
              <a:rPr lang="en-SG" sz="16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Table (600px – 991px)</a:t>
            </a:r>
          </a:p>
          <a:p>
            <a:pPr marL="285750" lvl="8" indent="-285750">
              <a:buFont typeface="Arial" panose="020B0604020202020204" pitchFamily="34" charset="0"/>
              <a:buChar char="•"/>
            </a:pPr>
            <a:r>
              <a:rPr lang="en-SG" sz="16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Desktop (&gt; 991px)</a:t>
            </a:r>
          </a:p>
          <a:p>
            <a:pPr marL="285750" lvl="8" indent="-285750">
              <a:buFont typeface="Arial" panose="020B0604020202020204" pitchFamily="34" charset="0"/>
              <a:buChar char="•"/>
            </a:pPr>
            <a:endParaRPr lang="en-SG" sz="16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  <a:p>
            <a:pPr marL="0" lvl="8" indent="0">
              <a:buNone/>
            </a:pPr>
            <a:endParaRPr lang="en-SG" sz="16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575576A-F7D7-3C62-7DBB-78B1FCD17B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2429624"/>
              </p:ext>
            </p:extLst>
          </p:nvPr>
        </p:nvGraphicFramePr>
        <p:xfrm>
          <a:off x="1022732" y="2838363"/>
          <a:ext cx="10146535" cy="2956510"/>
        </p:xfrm>
        <a:graphic>
          <a:graphicData uri="http://schemas.openxmlformats.org/drawingml/2006/table">
            <a:tbl>
              <a:tblPr/>
              <a:tblGrid>
                <a:gridCol w="2917451">
                  <a:extLst>
                    <a:ext uri="{9D8B030D-6E8A-4147-A177-3AD203B41FA5}">
                      <a16:colId xmlns:a16="http://schemas.microsoft.com/office/drawing/2014/main" val="2333841971"/>
                    </a:ext>
                  </a:extLst>
                </a:gridCol>
                <a:gridCol w="3950178">
                  <a:extLst>
                    <a:ext uri="{9D8B030D-6E8A-4147-A177-3AD203B41FA5}">
                      <a16:colId xmlns:a16="http://schemas.microsoft.com/office/drawing/2014/main" val="3345100103"/>
                    </a:ext>
                  </a:extLst>
                </a:gridCol>
                <a:gridCol w="3278906">
                  <a:extLst>
                    <a:ext uri="{9D8B030D-6E8A-4147-A177-3AD203B41FA5}">
                      <a16:colId xmlns:a16="http://schemas.microsoft.com/office/drawing/2014/main" val="3993185918"/>
                    </a:ext>
                  </a:extLst>
                </a:gridCol>
              </a:tblGrid>
              <a:tr h="591302">
                <a:tc>
                  <a:txBody>
                    <a:bodyPr/>
                    <a:lstStyle/>
                    <a:p>
                      <a:pPr algn="l" fontAlgn="b"/>
                      <a:r>
                        <a:rPr lang="en-SG" sz="1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eatur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aw CSS </a:t>
                      </a:r>
                      <a:r>
                        <a:rPr lang="es-E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rid</a:t>
                      </a:r>
                      <a:r>
                        <a:rPr lang="es-E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+ Media </a:t>
                      </a:r>
                      <a:r>
                        <a:rPr lang="es-E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Queries</a:t>
                      </a:r>
                      <a:endParaRPr lang="es-ES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ootstrap 5 Grid System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56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6572903"/>
                  </a:ext>
                </a:extLst>
              </a:tr>
              <a:tr h="591302">
                <a:tc>
                  <a:txBody>
                    <a:bodyPr/>
                    <a:lstStyle/>
                    <a:p>
                      <a:pPr algn="l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rol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e-tuned with full flexibility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et breakpoints and classes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279522"/>
                  </a:ext>
                </a:extLst>
              </a:tr>
              <a:tr h="591302">
                <a:tc>
                  <a:txBody>
                    <a:bodyPr/>
                    <a:lstStyle/>
                    <a:p>
                      <a:pPr algn="l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up Spee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ower, manual styling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ster, quick layout setup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9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225722"/>
                  </a:ext>
                </a:extLst>
              </a:tr>
              <a:tr h="591302">
                <a:tc>
                  <a:txBody>
                    <a:bodyPr/>
                    <a:lstStyle/>
                    <a:p>
                      <a:pPr algn="l" fontAlgn="b"/>
                      <a:r>
                        <a:rPr lang="en-S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de Complexity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e verbose and customized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e concise and less code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171340"/>
                  </a:ext>
                </a:extLst>
              </a:tr>
              <a:tr h="591302">
                <a:tc>
                  <a:txBody>
                    <a:bodyPr/>
                    <a:lstStyle/>
                    <a:p>
                      <a:pPr algn="l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ponsiveness Quality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od when configured well with classes and ids in HTM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S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od with built in logic within HTM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B3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9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996061"/>
                  </a:ext>
                </a:extLst>
              </a:tr>
            </a:tbl>
          </a:graphicData>
        </a:graphic>
      </p:graphicFrame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B5F5D54D-A8C0-1C94-CFA9-ED822D191851}"/>
              </a:ext>
            </a:extLst>
          </p:cNvPr>
          <p:cNvSpPr txBox="1">
            <a:spLocks/>
          </p:cNvSpPr>
          <p:nvPr/>
        </p:nvSpPr>
        <p:spPr>
          <a:xfrm>
            <a:off x="6095999" y="798722"/>
            <a:ext cx="3486456" cy="53851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8" indent="0">
              <a:buNone/>
            </a:pPr>
            <a:r>
              <a:rPr lang="en-SG" sz="16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Conclusion:</a:t>
            </a:r>
          </a:p>
          <a:p>
            <a:pPr marL="285750" lvl="8" indent="-285750"/>
            <a:r>
              <a:rPr lang="en-SG" sz="16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Raw CSS offers precision and flexibility, but it is more time-consuming to set up</a:t>
            </a:r>
          </a:p>
          <a:p>
            <a:pPr marL="285750" lvl="8" indent="-285750"/>
            <a:r>
              <a:rPr lang="en-SG" sz="16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Bootstrap is ideal for faster, mobile-first design.</a:t>
            </a:r>
          </a:p>
          <a:p>
            <a:pPr marL="0" lvl="8" indent="0">
              <a:buFont typeface="Verdana" panose="020B0604030504040204" pitchFamily="34" charset="0"/>
              <a:buNone/>
            </a:pPr>
            <a:endParaRPr lang="en-SG" sz="16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4847401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A9AE4FE-690E-CBD3-5D35-001DB9C67A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BB280D-FFDA-7D58-A800-5082990404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429547"/>
            <a:ext cx="4842705" cy="1725309"/>
          </a:xfrm>
        </p:spPr>
        <p:txBody>
          <a:bodyPr>
            <a:normAutofit/>
          </a:bodyPr>
          <a:lstStyle/>
          <a:p>
            <a:r>
              <a:rPr lang="en-GB" dirty="0">
                <a:latin typeface="Aptos"/>
                <a:ea typeface="Open Sans"/>
                <a:cs typeface="Open Sans"/>
              </a:rPr>
              <a:t>Topic 5 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3FA2B8-B607-6112-D45B-1AC04952D8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4165" y="2253867"/>
            <a:ext cx="4443984" cy="156653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800" dirty="0"/>
              <a:t>JSON &amp; Local Data with JavaScript</a:t>
            </a:r>
          </a:p>
        </p:txBody>
      </p:sp>
    </p:spTree>
    <p:extLst>
      <p:ext uri="{BB962C8B-B14F-4D97-AF65-F5344CB8AC3E}">
        <p14:creationId xmlns:p14="http://schemas.microsoft.com/office/powerpoint/2010/main" val="226567896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F62602-3D4B-0206-EEA1-024554E124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A32C687-4E57-8F5E-BE1A-4DB8CE8AA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334099"/>
          </a:xfrm>
        </p:spPr>
        <p:txBody>
          <a:bodyPr/>
          <a:lstStyle/>
          <a:p>
            <a:r>
              <a:rPr lang="en-GB" b="1" dirty="0"/>
              <a:t>Understanding JSON and Accessing Local Data</a:t>
            </a:r>
            <a:endParaRPr lang="en-US" b="1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CC687FE-36D3-3A12-170A-DDFC5B76F150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501650" y="1070768"/>
            <a:ext cx="5038725" cy="4716463"/>
          </a:xfrm>
        </p:spPr>
        <p:txBody>
          <a:bodyPr vert="horz" lIns="0" tIns="0" rIns="0" bIns="0" rtlCol="0" anchor="t">
            <a:noAutofit/>
          </a:bodyPr>
          <a:lstStyle/>
          <a:p>
            <a:pPr marL="0" lvl="6" indent="0">
              <a:buNone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</a:rPr>
              <a:t>What is JSON? 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JavaScript Object Notation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Human-readable data format used for data exchange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Supports strings, numbers, arrays, and nested objects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"student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"Ian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"course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"CM1040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"modules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[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"HTML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"CSS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"JavaScript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],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"Year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1</a:t>
            </a:r>
            <a:endParaRPr lang="en-SG" sz="1200" b="0" dirty="0">
              <a:solidFill>
                <a:srgbClr val="E6EDF3"/>
              </a:solidFill>
              <a:effectLst/>
              <a:latin typeface="Consolas" panose="020B0609020204030204" pitchFamily="49" charset="0"/>
            </a:endParaRP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lvl="6" indent="0">
              <a:buNone/>
            </a:pPr>
            <a:r>
              <a:rPr lang="en-US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Why use JSON over other data structures like XML?</a:t>
            </a:r>
          </a:p>
          <a:p>
            <a:pPr marL="285750" lvl="6" indent="-285750">
              <a:buFontTx/>
              <a:buChar char="-"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Easier than XML for structuring data</a:t>
            </a:r>
          </a:p>
          <a:p>
            <a:pPr marL="285750" lvl="6" indent="-285750">
              <a:buFontTx/>
              <a:buChar char="-"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Lightweight, fast to parse in JavaScript</a:t>
            </a:r>
          </a:p>
          <a:p>
            <a:pPr marL="285750" lvl="6" indent="-285750">
              <a:buFontTx/>
              <a:buChar char="-"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Used for configuration files, datasets and mock AP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E6AAEB-8902-6825-032B-9F56F81BB3F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7153275" y="1054100"/>
            <a:ext cx="5038725" cy="4370388"/>
          </a:xfrm>
        </p:spPr>
        <p:txBody>
          <a:bodyPr vert="horz" lIns="0" tIns="0" rIns="0" bIns="0" rtlCol="0" anchor="t">
            <a:noAutofit/>
          </a:bodyPr>
          <a:lstStyle/>
          <a:p>
            <a:pPr marL="531813" lvl="7" indent="-531813">
              <a:buNone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Loading Local JSON Data with JavaScript</a:t>
            </a:r>
          </a:p>
          <a:p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fetch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'./</a:t>
            </a:r>
            <a:r>
              <a:rPr lang="en-SG" sz="1200" b="0" dirty="0" err="1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data.json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.</a:t>
            </a:r>
            <a:r>
              <a:rPr lang="en-SG" sz="1200" b="0" dirty="0">
                <a:solidFill>
                  <a:srgbClr val="D2A8FF"/>
                </a:solidFill>
                <a:effectLst/>
                <a:latin typeface="Consolas" panose="020B0609020204030204" pitchFamily="49" charset="0"/>
              </a:rPr>
              <a:t>then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SG" sz="1200" b="0" dirty="0">
                <a:solidFill>
                  <a:srgbClr val="FFA657"/>
                </a:solidFill>
                <a:effectLst/>
                <a:latin typeface="Consolas" panose="020B0609020204030204" pitchFamily="49" charset="0"/>
              </a:rPr>
              <a:t>response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 err="1">
                <a:solidFill>
                  <a:srgbClr val="FFA657"/>
                </a:solidFill>
                <a:effectLst/>
                <a:latin typeface="Consolas" panose="020B0609020204030204" pitchFamily="49" charset="0"/>
              </a:rPr>
              <a:t>response</a:t>
            </a:r>
            <a:r>
              <a:rPr lang="en-SG" sz="1200" b="0" dirty="0" err="1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SG" sz="1200" b="0" dirty="0" err="1">
                <a:solidFill>
                  <a:srgbClr val="D2A8FF"/>
                </a:solidFill>
                <a:effectLst/>
                <a:latin typeface="Consolas" panose="020B0609020204030204" pitchFamily="49" charset="0"/>
              </a:rPr>
              <a:t>json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))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.</a:t>
            </a:r>
            <a:r>
              <a:rPr lang="en-SG" sz="1200" b="0" dirty="0">
                <a:solidFill>
                  <a:srgbClr val="D2A8FF"/>
                </a:solidFill>
                <a:effectLst/>
                <a:latin typeface="Consolas" panose="020B0609020204030204" pitchFamily="49" charset="0"/>
              </a:rPr>
              <a:t>then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SG" sz="1200" b="0" dirty="0">
                <a:solidFill>
                  <a:srgbClr val="FFA657"/>
                </a:solidFill>
                <a:effectLst/>
                <a:latin typeface="Consolas" panose="020B0609020204030204" pitchFamily="49" charset="0"/>
              </a:rPr>
              <a:t>data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console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SG" sz="1200" b="0" dirty="0">
                <a:solidFill>
                  <a:srgbClr val="D2A8FF"/>
                </a:solidFill>
                <a:effectLst/>
                <a:latin typeface="Consolas" panose="020B0609020204030204" pitchFamily="49" charset="0"/>
              </a:rPr>
              <a:t>log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SG" sz="1200" b="0" dirty="0" err="1">
                <a:solidFill>
                  <a:srgbClr val="FFA657"/>
                </a:solidFill>
                <a:effectLst/>
                <a:latin typeface="Consolas" panose="020B0609020204030204" pitchFamily="49" charset="0"/>
              </a:rPr>
              <a:t>data</a:t>
            </a:r>
            <a:r>
              <a:rPr lang="en-SG" sz="1200" b="0" dirty="0" err="1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.student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); </a:t>
            </a:r>
            <a:r>
              <a:rPr lang="en-SG" sz="1200" b="0" dirty="0">
                <a:solidFill>
                  <a:srgbClr val="8B949E"/>
                </a:solidFill>
                <a:effectLst/>
                <a:latin typeface="Consolas" panose="020B0609020204030204" pitchFamily="49" charset="0"/>
              </a:rPr>
              <a:t>// Output: Ian</a:t>
            </a:r>
            <a:endParaRPr lang="en-SG" sz="1200" b="0" dirty="0">
              <a:solidFill>
                <a:srgbClr val="E6EDF3"/>
              </a:solidFill>
              <a:effectLst/>
              <a:latin typeface="Consolas" panose="020B0609020204030204" pitchFamily="49" charset="0"/>
            </a:endParaRP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}).</a:t>
            </a:r>
            <a:r>
              <a:rPr lang="en-SG" sz="1200" b="0" dirty="0">
                <a:solidFill>
                  <a:srgbClr val="D2A8FF"/>
                </a:solidFill>
                <a:effectLst/>
                <a:latin typeface="Consolas" panose="020B0609020204030204" pitchFamily="49" charset="0"/>
              </a:rPr>
              <a:t>catch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SG" sz="1200" b="0" dirty="0">
                <a:solidFill>
                  <a:srgbClr val="FFA657"/>
                </a:solidFill>
                <a:effectLst/>
                <a:latin typeface="Consolas" panose="020B0609020204030204" pitchFamily="49" charset="0"/>
              </a:rPr>
              <a:t>err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console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SG" sz="1200" b="0" dirty="0">
                <a:solidFill>
                  <a:srgbClr val="D2A8FF"/>
                </a:solidFill>
                <a:effectLst/>
                <a:latin typeface="Consolas" panose="020B0609020204030204" pitchFamily="49" charset="0"/>
              </a:rPr>
              <a:t>log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SG" sz="1200" b="0" dirty="0">
                <a:solidFill>
                  <a:srgbClr val="FFA657"/>
                </a:solidFill>
                <a:effectLst/>
                <a:latin typeface="Consolas" panose="020B0609020204030204" pitchFamily="49" charset="0"/>
              </a:rPr>
              <a:t>err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)).</a:t>
            </a:r>
            <a:r>
              <a:rPr lang="en-SG" sz="1200" b="0" dirty="0">
                <a:solidFill>
                  <a:srgbClr val="D2A8FF"/>
                </a:solidFill>
                <a:effectLst/>
                <a:latin typeface="Consolas" panose="020B0609020204030204" pitchFamily="49" charset="0"/>
              </a:rPr>
              <a:t>finally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()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console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SG" sz="1200" b="0" dirty="0">
                <a:solidFill>
                  <a:srgbClr val="D2A8FF"/>
                </a:solidFill>
                <a:effectLst/>
                <a:latin typeface="Consolas" panose="020B0609020204030204" pitchFamily="49" charset="0"/>
              </a:rPr>
              <a:t>log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"Done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))</a:t>
            </a:r>
          </a:p>
          <a:p>
            <a:pPr marL="531813" lvl="7" indent="-531813">
              <a:buNone/>
            </a:pP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940597933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F62602-3D4B-0206-EEA1-024554E124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A32C687-4E57-8F5E-BE1A-4DB8CE8AA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334099"/>
          </a:xfrm>
        </p:spPr>
        <p:txBody>
          <a:bodyPr/>
          <a:lstStyle/>
          <a:p>
            <a:r>
              <a:rPr lang="en-GB" b="1" dirty="0"/>
              <a:t>Retrieving Live Data from the Web with REST APIs</a:t>
            </a:r>
            <a:endParaRPr lang="en-US" b="1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CC687FE-36D3-3A12-170A-DDFC5B76F150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501650" y="1070768"/>
            <a:ext cx="5038725" cy="4716463"/>
          </a:xfrm>
        </p:spPr>
        <p:txBody>
          <a:bodyPr vert="horz" lIns="0" tIns="0" rIns="0" bIns="0" rtlCol="0" anchor="t">
            <a:noAutofit/>
          </a:bodyPr>
          <a:lstStyle/>
          <a:p>
            <a:pPr marL="0" lvl="6" indent="0">
              <a:buNone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</a:rPr>
              <a:t>What is a REST API?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API: Application Programming Interface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REST: Uses HTTP methods (GET, POST) to interact with resources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Responds with data, usually in JSON format</a:t>
            </a:r>
          </a:p>
          <a:p>
            <a:pPr marL="0" lvl="6" indent="0">
              <a:buNone/>
            </a:pP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  <a:p>
            <a:pPr marL="0" lvl="6" indent="0">
              <a:buNone/>
            </a:pPr>
            <a:r>
              <a:rPr lang="en-US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Why use APIs in Web Development? </a:t>
            </a:r>
          </a:p>
          <a:p>
            <a:pPr marL="285750" lvl="6" indent="-285750">
              <a:buFontTx/>
              <a:buChar char="-"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Access real-time information from external sources (e.g., weather, news)</a:t>
            </a:r>
          </a:p>
          <a:p>
            <a:pPr marL="285750" lvl="6" indent="-285750">
              <a:buFontTx/>
              <a:buChar char="-"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Lightweight, fast to parse in JavaScript</a:t>
            </a:r>
          </a:p>
          <a:p>
            <a:pPr marL="285750" lvl="6" indent="-285750">
              <a:buFontTx/>
              <a:buChar char="-"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Used for configuration files, datasets and mock AP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E6AAEB-8902-6825-032B-9F56F81BB3F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6651625" y="1070768"/>
            <a:ext cx="5038725" cy="4370388"/>
          </a:xfrm>
        </p:spPr>
        <p:txBody>
          <a:bodyPr vert="horz" lIns="0" tIns="0" rIns="0" bIns="0" rtlCol="0" anchor="t">
            <a:noAutofit/>
          </a:bodyPr>
          <a:lstStyle/>
          <a:p>
            <a:pPr marL="531813" lvl="7" indent="-531813">
              <a:buNone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Example: Fetching Weather from API</a:t>
            </a:r>
          </a:p>
          <a:p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fetch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'https://api.example.com/weather'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.</a:t>
            </a:r>
            <a:r>
              <a:rPr lang="en-SG" sz="1200" b="0" dirty="0">
                <a:solidFill>
                  <a:srgbClr val="D2A8FF"/>
                </a:solidFill>
                <a:effectLst/>
                <a:latin typeface="Consolas" panose="020B0609020204030204" pitchFamily="49" charset="0"/>
              </a:rPr>
              <a:t>then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SG" sz="1200" b="0" dirty="0">
                <a:solidFill>
                  <a:srgbClr val="FFA657"/>
                </a:solidFill>
                <a:effectLst/>
                <a:latin typeface="Consolas" panose="020B0609020204030204" pitchFamily="49" charset="0"/>
              </a:rPr>
              <a:t>res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 err="1">
                <a:solidFill>
                  <a:srgbClr val="FFA657"/>
                </a:solidFill>
                <a:effectLst/>
                <a:latin typeface="Consolas" panose="020B0609020204030204" pitchFamily="49" charset="0"/>
              </a:rPr>
              <a:t>res</a:t>
            </a:r>
            <a:r>
              <a:rPr lang="en-SG" sz="1200" b="0" dirty="0" err="1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SG" sz="1200" b="0" dirty="0" err="1">
                <a:solidFill>
                  <a:srgbClr val="D2A8FF"/>
                </a:solidFill>
                <a:effectLst/>
                <a:latin typeface="Consolas" panose="020B0609020204030204" pitchFamily="49" charset="0"/>
              </a:rPr>
              <a:t>json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))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.</a:t>
            </a:r>
            <a:r>
              <a:rPr lang="en-SG" sz="1200" b="0" dirty="0">
                <a:solidFill>
                  <a:srgbClr val="D2A8FF"/>
                </a:solidFill>
                <a:effectLst/>
                <a:latin typeface="Consolas" panose="020B0609020204030204" pitchFamily="49" charset="0"/>
              </a:rPr>
              <a:t>then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SG" sz="1200" b="0" dirty="0">
                <a:solidFill>
                  <a:srgbClr val="FFA657"/>
                </a:solidFill>
                <a:effectLst/>
                <a:latin typeface="Consolas" panose="020B0609020204030204" pitchFamily="49" charset="0"/>
              </a:rPr>
              <a:t>data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 err="1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document</a:t>
            </a:r>
            <a:r>
              <a:rPr lang="en-SG" sz="1200" b="0" dirty="0" err="1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SG" sz="1200" b="0" dirty="0" err="1">
                <a:solidFill>
                  <a:srgbClr val="D2A8FF"/>
                </a:solidFill>
                <a:effectLst/>
                <a:latin typeface="Consolas" panose="020B0609020204030204" pitchFamily="49" charset="0"/>
              </a:rPr>
              <a:t>getElementById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'temp'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).</a:t>
            </a:r>
            <a:r>
              <a:rPr lang="en-SG" sz="1200" b="0" dirty="0" err="1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textContent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 err="1">
                <a:solidFill>
                  <a:srgbClr val="FFA657"/>
                </a:solidFill>
                <a:effectLst/>
                <a:latin typeface="Consolas" panose="020B0609020204030204" pitchFamily="49" charset="0"/>
              </a:rPr>
              <a:t>data</a:t>
            </a:r>
            <a:r>
              <a:rPr lang="en-SG" sz="1200" b="0" dirty="0" err="1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.temperature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+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"°C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});</a:t>
            </a:r>
          </a:p>
          <a:p>
            <a:endParaRPr lang="en-SG" sz="2000" b="0" dirty="0">
              <a:solidFill>
                <a:srgbClr val="E6EDF3"/>
              </a:solidFill>
              <a:effectLst/>
              <a:latin typeface="Consolas" panose="020B0609020204030204" pitchFamily="49" charset="0"/>
            </a:endParaRPr>
          </a:p>
          <a:p>
            <a:r>
              <a:rPr lang="en-SG" sz="1400" b="1" dirty="0">
                <a:ea typeface="Calibri"/>
                <a:cs typeface="Calibri"/>
              </a:rPr>
              <a:t>Security Tip:</a:t>
            </a:r>
          </a:p>
          <a:p>
            <a:r>
              <a:rPr lang="en-SG" sz="1400" dirty="0">
                <a:ea typeface="Calibri"/>
                <a:cs typeface="Calibri"/>
              </a:rPr>
              <a:t>Use </a:t>
            </a:r>
            <a:r>
              <a:rPr lang="en-SG" sz="1400" b="1" dirty="0">
                <a:ea typeface="Calibri"/>
                <a:cs typeface="Calibri"/>
              </a:rPr>
              <a:t>HTTPS,</a:t>
            </a:r>
            <a:r>
              <a:rPr lang="en-SG" sz="1400" dirty="0">
                <a:ea typeface="Calibri"/>
                <a:cs typeface="Calibri"/>
              </a:rPr>
              <a:t> handle errors (.catch()), and validate user input to protect data integrity.</a:t>
            </a:r>
          </a:p>
          <a:p>
            <a:endParaRPr lang="en-SG" sz="2000" b="0" dirty="0">
              <a:solidFill>
                <a:srgbClr val="E6EDF3"/>
              </a:solidFill>
              <a:effectLst/>
              <a:latin typeface="Consolas" panose="020B0609020204030204" pitchFamily="49" charset="0"/>
            </a:endParaRPr>
          </a:p>
          <a:p>
            <a:pPr marL="531813" lvl="7" indent="-531813">
              <a:buNone/>
            </a:pPr>
            <a:r>
              <a:rPr lang="en-GB" sz="14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924339020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9AE4FE-690E-CBD3-5D35-001DB9C67A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BB280D-FFDA-7D58-A800-5082990404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429547"/>
            <a:ext cx="4842705" cy="1725309"/>
          </a:xfrm>
        </p:spPr>
        <p:txBody>
          <a:bodyPr>
            <a:normAutofit/>
          </a:bodyPr>
          <a:lstStyle/>
          <a:p>
            <a:r>
              <a:rPr lang="en-GB" dirty="0">
                <a:latin typeface="Aptos"/>
                <a:ea typeface="Open Sans"/>
                <a:cs typeface="Open Sans"/>
              </a:rPr>
              <a:t>Experiment 2 Setup and Finding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3FA2B8-B607-6112-D45B-1AC04952D8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4165" y="2253867"/>
            <a:ext cx="4443984" cy="156653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800" dirty="0"/>
              <a:t>Creating a weather app that utilizes both API calls and Bootstrap for its layout</a:t>
            </a:r>
          </a:p>
        </p:txBody>
      </p:sp>
    </p:spTree>
    <p:extLst>
      <p:ext uri="{BB962C8B-B14F-4D97-AF65-F5344CB8AC3E}">
        <p14:creationId xmlns:p14="http://schemas.microsoft.com/office/powerpoint/2010/main" val="775265517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F62602-3D4B-0206-EEA1-024554E124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A32C687-4E57-8F5E-BE1A-4DB8CE8AA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174280"/>
            <a:ext cx="11188700" cy="334099"/>
          </a:xfrm>
        </p:spPr>
        <p:txBody>
          <a:bodyPr/>
          <a:lstStyle/>
          <a:p>
            <a:r>
              <a:rPr lang="en-GB" b="1" dirty="0"/>
              <a:t>Dynamic Weather App: Real-Time Data &amp; Responsive Design</a:t>
            </a:r>
            <a:endParaRPr lang="en-US" b="1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CC687FE-36D3-3A12-170A-DDFC5B76F150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501650" y="740262"/>
            <a:ext cx="5038725" cy="4716463"/>
          </a:xfrm>
        </p:spPr>
        <p:txBody>
          <a:bodyPr vert="horz" lIns="0" tIns="0" rIns="0" bIns="0" rtlCol="0" anchor="t">
            <a:noAutofit/>
          </a:bodyPr>
          <a:lstStyle/>
          <a:p>
            <a:pPr marL="0" lvl="6" indent="0">
              <a:buNone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</a:rPr>
              <a:t>Objective: </a:t>
            </a:r>
          </a:p>
          <a:p>
            <a:pPr marL="0" lvl="6" indent="0">
              <a:buNone/>
            </a:pP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Create a weather app that: 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Accepts user input (city name) 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Retrieves live weather forecasts using </a:t>
            </a:r>
            <a:r>
              <a:rPr lang="en-SG" sz="1400" dirty="0" err="1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OpenWeatherMap’s</a:t>
            </a: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 REST API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Displays results in a responsive table layout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Demonstrates use of JSON, JavaScript (React + </a:t>
            </a:r>
            <a:r>
              <a:rPr lang="en-SG" sz="1400" dirty="0" err="1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Axios</a:t>
            </a: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), and Bootstrap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endParaRPr lang="en-SG" sz="14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  <a:p>
            <a:pPr marL="0" lvl="6" indent="0">
              <a:buNone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Tools &amp; Tech Used: 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React.js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SG" sz="1400" dirty="0" err="1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OpenWeatherMap</a:t>
            </a: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 API (geolocation + 5-day forecast endpoints)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SG" sz="1400" dirty="0" err="1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Axios</a:t>
            </a: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 (for HTTP requests)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Bootstrap 5 (responsive table + layout)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E6AAEB-8902-6825-032B-9F56F81BB3F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6651625" y="740262"/>
            <a:ext cx="5038725" cy="4370388"/>
          </a:xfrm>
        </p:spPr>
        <p:txBody>
          <a:bodyPr vert="horz" lIns="0" tIns="0" rIns="0" bIns="0" rtlCol="0" anchor="t">
            <a:noAutofit/>
          </a:bodyPr>
          <a:lstStyle/>
          <a:p>
            <a:pPr marL="531813" lvl="7" indent="-531813">
              <a:buNone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Data Fetching Flow (handleSubmit2)</a:t>
            </a:r>
          </a:p>
          <a:p>
            <a:pPr marL="531813" lvl="7" indent="-531813">
              <a:buNone/>
            </a:pPr>
            <a:r>
              <a:rPr lang="en-GB" sz="1400" dirty="0"/>
              <a:t> </a:t>
            </a: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1. Use city name to get geo coordinates via: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SG" sz="1200" b="0" dirty="0" err="1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axios</a:t>
            </a:r>
            <a:endParaRPr lang="en-SG" sz="1200" b="0" dirty="0">
              <a:solidFill>
                <a:srgbClr val="E6EDF3"/>
              </a:solidFill>
              <a:effectLst/>
              <a:latin typeface="Consolas" panose="020B0609020204030204" pitchFamily="49" charset="0"/>
            </a:endParaRP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.</a:t>
            </a:r>
            <a:r>
              <a:rPr lang="en-SG" sz="1200" b="0" dirty="0">
                <a:solidFill>
                  <a:srgbClr val="D2A8FF"/>
                </a:solidFill>
                <a:effectLst/>
                <a:latin typeface="Consolas" panose="020B0609020204030204" pitchFamily="49" charset="0"/>
              </a:rPr>
              <a:t>get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`https://api.openweathermap.org/geo/1.0/</a:t>
            </a:r>
            <a:r>
              <a:rPr lang="en-SG" sz="1200" b="0" dirty="0" err="1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direct?q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=${</a:t>
            </a:r>
            <a:r>
              <a:rPr lang="en-SG" sz="1200" b="0" dirty="0" err="1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this</a:t>
            </a:r>
            <a:r>
              <a:rPr lang="en-SG" sz="1200" b="0" dirty="0" err="1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SG" sz="1200" b="0" dirty="0" err="1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state</a:t>
            </a:r>
            <a:r>
              <a:rPr lang="en-SG" sz="1200" b="0" dirty="0" err="1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SG" sz="1200" b="0" dirty="0" err="1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cityInput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}&amp;limit=1&amp;appid=db2b631c79deae1500162a294faec7dc`</a:t>
            </a:r>
            <a:endParaRPr lang="en-SG" sz="1200" b="0" dirty="0">
              <a:solidFill>
                <a:srgbClr val="E6EDF3"/>
              </a:solidFill>
              <a:effectLst/>
              <a:latin typeface="Consolas" panose="020B0609020204030204" pitchFamily="49" charset="0"/>
            </a:endParaRP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)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.</a:t>
            </a:r>
            <a:r>
              <a:rPr lang="en-SG" sz="1200" b="0" dirty="0">
                <a:solidFill>
                  <a:srgbClr val="D2A8FF"/>
                </a:solidFill>
                <a:effectLst/>
                <a:latin typeface="Consolas" panose="020B0609020204030204" pitchFamily="49" charset="0"/>
              </a:rPr>
              <a:t>then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en-SG" sz="1200" b="0" dirty="0">
                <a:solidFill>
                  <a:srgbClr val="FFA657"/>
                </a:solidFill>
                <a:effectLst/>
                <a:latin typeface="Consolas" panose="020B0609020204030204" pitchFamily="49" charset="0"/>
              </a:rPr>
              <a:t>response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=&gt;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 err="1">
                <a:solidFill>
                  <a:srgbClr val="FFA657"/>
                </a:solidFill>
                <a:effectLst/>
                <a:latin typeface="Consolas" panose="020B0609020204030204" pitchFamily="49" charset="0"/>
              </a:rPr>
              <a:t>response</a:t>
            </a:r>
            <a:r>
              <a:rPr lang="en-SG" sz="1200" b="0" dirty="0" err="1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.data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])</a:t>
            </a:r>
          </a:p>
          <a:p>
            <a:endParaRPr lang="en-SG" sz="2000" b="0" dirty="0">
              <a:solidFill>
                <a:srgbClr val="E6EDF3"/>
              </a:solidFill>
              <a:effectLst/>
              <a:latin typeface="Consolas" panose="020B0609020204030204" pitchFamily="49" charset="0"/>
            </a:endParaRPr>
          </a:p>
          <a:p>
            <a:pPr marL="531813" lvl="7" indent="-531813">
              <a:buNone/>
            </a:pPr>
            <a:r>
              <a:rPr lang="en-GB" sz="1400" dirty="0"/>
              <a:t> </a:t>
            </a: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2. Use </a:t>
            </a:r>
            <a:r>
              <a:rPr lang="en-SG" sz="1400" b="1" i="1" dirty="0" err="1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lat</a:t>
            </a:r>
            <a:r>
              <a:rPr lang="en-SG" sz="1400" b="1" i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/</a:t>
            </a:r>
            <a:r>
              <a:rPr lang="en-SG" sz="1400" b="1" i="1" dirty="0" err="1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lon</a:t>
            </a: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 to fetch forecast data: 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.</a:t>
            </a:r>
            <a:r>
              <a:rPr lang="en-SG" sz="1200" b="0" dirty="0">
                <a:solidFill>
                  <a:srgbClr val="D2A8FF"/>
                </a:solidFill>
                <a:effectLst/>
                <a:latin typeface="Consolas" panose="020B0609020204030204" pitchFamily="49" charset="0"/>
              </a:rPr>
              <a:t>then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(</a:t>
            </a:r>
            <a:r>
              <a:rPr lang="en-SG" sz="1200" b="0" dirty="0" err="1">
                <a:solidFill>
                  <a:srgbClr val="FFA657"/>
                </a:solidFill>
                <a:effectLst/>
                <a:latin typeface="Consolas" panose="020B0609020204030204" pitchFamily="49" charset="0"/>
              </a:rPr>
              <a:t>cityGeoData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=&gt;</a:t>
            </a:r>
            <a:endParaRPr lang="en-SG" sz="1200" b="0" dirty="0">
              <a:solidFill>
                <a:srgbClr val="E6EDF3"/>
              </a:solidFill>
              <a:effectLst/>
              <a:latin typeface="Consolas" panose="020B0609020204030204" pitchFamily="49" charset="0"/>
            </a:endParaRP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SG" sz="1200" b="0" dirty="0" err="1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axios</a:t>
            </a:r>
            <a:r>
              <a:rPr lang="en-SG" sz="1200" b="0" dirty="0" err="1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SG" sz="1200" b="0" dirty="0" err="1">
                <a:solidFill>
                  <a:srgbClr val="D2A8FF"/>
                </a:solidFill>
                <a:effectLst/>
                <a:latin typeface="Consolas" panose="020B0609020204030204" pitchFamily="49" charset="0"/>
              </a:rPr>
              <a:t>get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    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`https://api.openweathermap.org/data/2.5/</a:t>
            </a:r>
            <a:r>
              <a:rPr lang="en-SG" sz="1200" b="0" dirty="0" err="1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forecast?lat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=${</a:t>
            </a:r>
            <a:r>
              <a:rPr lang="en-SG" sz="1200" b="0" dirty="0" err="1">
                <a:solidFill>
                  <a:srgbClr val="FFA657"/>
                </a:solidFill>
                <a:effectLst/>
                <a:latin typeface="Consolas" panose="020B0609020204030204" pitchFamily="49" charset="0"/>
              </a:rPr>
              <a:t>cityGeoData</a:t>
            </a:r>
            <a:r>
              <a:rPr lang="en-SG" sz="1200" b="0" dirty="0" err="1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SG" sz="1200" b="0" dirty="0" err="1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lat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}&amp;</a:t>
            </a:r>
            <a:r>
              <a:rPr lang="en-SG" sz="1200" b="0" dirty="0" err="1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lon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=${</a:t>
            </a:r>
            <a:r>
              <a:rPr lang="en-SG" sz="1200" b="0" dirty="0" err="1">
                <a:solidFill>
                  <a:srgbClr val="FFA657"/>
                </a:solidFill>
                <a:effectLst/>
                <a:latin typeface="Consolas" panose="020B0609020204030204" pitchFamily="49" charset="0"/>
              </a:rPr>
              <a:t>cityGeoData</a:t>
            </a:r>
            <a:r>
              <a:rPr lang="en-SG" sz="1200" b="0" dirty="0" err="1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SG" sz="1200" b="0" dirty="0" err="1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lon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}&amp;</a:t>
            </a:r>
            <a:r>
              <a:rPr lang="en-SG" sz="1200" b="0" dirty="0" err="1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appid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=db2b631c79deae1500162a294faec7dc&amp;units=metric`</a:t>
            </a:r>
            <a:endParaRPr lang="en-SG" sz="1200" b="0" dirty="0">
              <a:solidFill>
                <a:srgbClr val="E6EDF3"/>
              </a:solidFill>
              <a:effectLst/>
              <a:latin typeface="Consolas" panose="020B0609020204030204" pitchFamily="49" charset="0"/>
            </a:endParaRP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  )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)</a:t>
            </a:r>
          </a:p>
          <a:p>
            <a:pPr marL="531813" lvl="7" indent="-531813">
              <a:buNone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3. Parse and display using .map() to render forecast rows</a:t>
            </a:r>
          </a:p>
          <a:p>
            <a:pPr marL="531813" lvl="7" indent="-531813">
              <a:buNone/>
            </a:pP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75291310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Aptos" panose="020B0004020202020204" pitchFamily="34" charset="0"/>
              </a:rPr>
              <a:t>Agenda</a:t>
            </a:r>
          </a:p>
        </p:txBody>
      </p:sp>
      <p:grpSp>
        <p:nvGrpSpPr>
          <p:cNvPr id="4" name="Group 3" descr="Agenda for the slides&#10;">
            <a:extLst>
              <a:ext uri="{FF2B5EF4-FFF2-40B4-BE49-F238E27FC236}">
                <a16:creationId xmlns:a16="http://schemas.microsoft.com/office/drawing/2014/main" id="{84115FEB-4B18-60DF-D015-72A33528320F}"/>
              </a:ext>
            </a:extLst>
          </p:cNvPr>
          <p:cNvGrpSpPr/>
          <p:nvPr/>
        </p:nvGrpSpPr>
        <p:grpSpPr>
          <a:xfrm>
            <a:off x="784892" y="1000955"/>
            <a:ext cx="9973748" cy="3662712"/>
            <a:chOff x="1347956" y="1588776"/>
            <a:chExt cx="10185639" cy="3914837"/>
          </a:xfrm>
        </p:grpSpPr>
        <p:sp>
          <p:nvSpPr>
            <p:cNvPr id="52" name="TextBox 51"/>
            <p:cNvSpPr txBox="1"/>
            <p:nvPr/>
          </p:nvSpPr>
          <p:spPr>
            <a:xfrm>
              <a:off x="1354012" y="1654049"/>
              <a:ext cx="2153518" cy="14474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800" b="1" i="0" u="none" strike="noStrike" kern="1200" cap="none" spc="0" normalizeH="0" baseline="0" noProof="0" dirty="0">
                  <a:ln>
                    <a:noFill/>
                  </a:ln>
                  <a:solidFill>
                    <a:srgbClr val="6FC2B4"/>
                  </a:solidFill>
                  <a:effectLst/>
                  <a:uLnTx/>
                  <a:uFillTx/>
                  <a:latin typeface="Aptos" panose="020B0004020202020204" pitchFamily="34" charset="0"/>
                </a:rPr>
                <a:t>01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3290113" y="4622237"/>
              <a:ext cx="2884362" cy="5851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>
                <a:defRPr/>
              </a:pPr>
              <a:r>
                <a:rPr lang="en-SG" dirty="0">
                  <a:solidFill>
                    <a:schemeClr val="bg1"/>
                  </a:solidFill>
                  <a:ea typeface="+mn-lt"/>
                  <a:cs typeface="+mn-lt"/>
                </a:rPr>
                <a:t>Experiment 1 Setup and Findings	</a:t>
              </a:r>
              <a:endParaRPr lang="en-US" dirty="0"/>
            </a:p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0B0004020202020204" pitchFamily="34" charset="0"/>
                <a:cs typeface="Calibri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347956" y="4056178"/>
              <a:ext cx="2153518" cy="14474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800" b="1" i="0" u="none" strike="noStrike" kern="1200" cap="none" spc="0" normalizeH="0" baseline="0" noProof="0" dirty="0">
                  <a:ln>
                    <a:noFill/>
                  </a:ln>
                  <a:solidFill>
                    <a:srgbClr val="046A38"/>
                  </a:solidFill>
                  <a:effectLst/>
                  <a:uLnTx/>
                  <a:uFillTx/>
                  <a:latin typeface="Aptos" panose="020B0004020202020204" pitchFamily="34" charset="0"/>
                </a:rPr>
                <a:t>03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1363386" y="2786287"/>
              <a:ext cx="2153518" cy="14474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800" b="1" i="0" u="none" strike="noStrike" kern="1200" cap="none" spc="0" normalizeH="0" baseline="0" noProof="0" dirty="0">
                  <a:ln>
                    <a:noFill/>
                  </a:ln>
                  <a:solidFill>
                    <a:srgbClr val="C4D600"/>
                  </a:solidFill>
                  <a:effectLst/>
                  <a:uLnTx/>
                  <a:uFillTx/>
                  <a:latin typeface="Aptos" panose="020B0004020202020204" pitchFamily="34" charset="0"/>
                </a:rPr>
                <a:t>02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6701021" y="1588776"/>
              <a:ext cx="2153518" cy="14474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800" b="1" i="0" u="none" strike="noStrike" kern="1200" cap="none" spc="0" normalizeH="0" baseline="0" noProof="0" dirty="0">
                  <a:ln>
                    <a:noFill/>
                  </a:ln>
                  <a:solidFill>
                    <a:srgbClr val="0097A9"/>
                  </a:solidFill>
                  <a:effectLst/>
                  <a:uLnTx/>
                  <a:uFillTx/>
                  <a:latin typeface="Aptos" panose="020B0004020202020204" pitchFamily="34" charset="0"/>
                </a:rPr>
                <a:t>04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3290113" y="2216159"/>
              <a:ext cx="2462453" cy="44587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>
                <a:defRPr/>
              </a:pPr>
              <a:r>
                <a:rPr lang="en-SG" dirty="0">
                  <a:solidFill>
                    <a:schemeClr val="bg1"/>
                  </a:solidFill>
                  <a:latin typeface="Aptos"/>
                </a:rPr>
                <a:t>Introduction</a:t>
              </a:r>
            </a:p>
            <a:p>
              <a:pPr>
                <a:defRPr/>
              </a:pPr>
              <a:endParaRPr lang="en-SG" dirty="0">
                <a:solidFill>
                  <a:schemeClr val="bg1"/>
                </a:solidFill>
                <a:latin typeface="Aptos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8649232" y="2191079"/>
              <a:ext cx="2884362" cy="38511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>
                <a:defRPr/>
              </a:pPr>
              <a:r>
                <a:rPr lang="en-SG" dirty="0">
                  <a:solidFill>
                    <a:schemeClr val="bg1"/>
                  </a:solidFill>
                  <a:latin typeface="Aptos"/>
                </a:rPr>
                <a:t>Topic 5 Overview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3299488" y="3352344"/>
              <a:ext cx="2874987" cy="5262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>
                <a:defRPr/>
              </a:pPr>
              <a:r>
                <a:rPr lang="en-SG" dirty="0">
                  <a:solidFill>
                    <a:schemeClr val="bg1"/>
                  </a:solidFill>
                  <a:latin typeface="Aptos"/>
                </a:rPr>
                <a:t>Topic 3 Overview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B49CC34-91D2-FE55-40A5-AC22CCEA928A}"/>
                </a:ext>
              </a:extLst>
            </p:cNvPr>
            <p:cNvSpPr txBox="1"/>
            <p:nvPr/>
          </p:nvSpPr>
          <p:spPr>
            <a:xfrm>
              <a:off x="8649233" y="3364409"/>
              <a:ext cx="2884362" cy="6126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>
                <a:defRPr/>
              </a:pPr>
              <a:r>
                <a:rPr lang="en-GB" dirty="0">
                  <a:solidFill>
                    <a:schemeClr val="bg1"/>
                  </a:solidFill>
                  <a:latin typeface="Aptos"/>
                </a:rPr>
                <a:t>Experiment 2 Setup and Findings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E654B3D-06C6-A7BD-ED5B-0B46DD47690E}"/>
                </a:ext>
              </a:extLst>
            </p:cNvPr>
            <p:cNvSpPr txBox="1"/>
            <p:nvPr/>
          </p:nvSpPr>
          <p:spPr>
            <a:xfrm>
              <a:off x="6713132" y="2802298"/>
              <a:ext cx="2153518" cy="14474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800" b="1" i="0" u="none" strike="noStrike" kern="1200" cap="none" spc="0" normalizeH="0" baseline="0" noProof="0" dirty="0">
                  <a:ln>
                    <a:noFill/>
                  </a:ln>
                  <a:solidFill>
                    <a:srgbClr val="007680"/>
                  </a:solidFill>
                  <a:effectLst/>
                  <a:uLnTx/>
                  <a:uFillTx/>
                  <a:latin typeface="Aptos" panose="020B0004020202020204" pitchFamily="34" charset="0"/>
                </a:rPr>
                <a:t>05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6612527E-C2AA-AA94-1BAB-42888CA63F44}"/>
              </a:ext>
            </a:extLst>
          </p:cNvPr>
          <p:cNvSpPr txBox="1"/>
          <p:nvPr/>
        </p:nvSpPr>
        <p:spPr>
          <a:xfrm>
            <a:off x="6026597" y="3306561"/>
            <a:ext cx="2108719" cy="135421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GB" sz="8800" b="1" dirty="0">
                <a:solidFill>
                  <a:srgbClr val="00B050"/>
                </a:solidFill>
                <a:latin typeface="Aptos"/>
              </a:rPr>
              <a:t>06</a:t>
            </a:r>
            <a:endParaRPr lang="en-GB" sz="88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ptos" panose="020B00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E2B36AF-0CD3-9D9C-F634-0B1C96C3391A}"/>
              </a:ext>
            </a:extLst>
          </p:cNvPr>
          <p:cNvSpPr txBox="1"/>
          <p:nvPr/>
        </p:nvSpPr>
        <p:spPr>
          <a:xfrm>
            <a:off x="8043193" y="3663206"/>
            <a:ext cx="2674112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dirty="0">
                <a:solidFill>
                  <a:schemeClr val="bg1"/>
                </a:solidFill>
                <a:latin typeface="Aptos"/>
              </a:rPr>
              <a:t>Connecting the Dots</a:t>
            </a:r>
          </a:p>
        </p:txBody>
      </p:sp>
    </p:spTree>
    <p:extLst>
      <p:ext uri="{BB962C8B-B14F-4D97-AF65-F5344CB8AC3E}">
        <p14:creationId xmlns:p14="http://schemas.microsoft.com/office/powerpoint/2010/main" val="372259493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109E931-AF30-D327-F57A-AD10C802B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214483"/>
            <a:ext cx="11188700" cy="30982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GB" b="1" dirty="0"/>
              <a:t>Comparison of different layouts </a:t>
            </a:r>
            <a:endParaRPr lang="en-US" b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6C778ED-2DA9-E1EF-16CC-25740EABE803}"/>
              </a:ext>
            </a:extLst>
          </p:cNvPr>
          <p:cNvSpPr txBox="1"/>
          <p:nvPr/>
        </p:nvSpPr>
        <p:spPr>
          <a:xfrm>
            <a:off x="6919396" y="765464"/>
            <a:ext cx="3877133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SG" dirty="0">
                <a:solidFill>
                  <a:schemeClr val="bg1"/>
                </a:solidFill>
              </a:rPr>
              <a:t>Tablet Layout: Width &gt;= 600px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en-SG" dirty="0">
                <a:solidFill>
                  <a:schemeClr val="bg1"/>
                </a:solidFill>
              </a:rPr>
              <a:t>On tablet, column width is col-md-8 and the form and content is 66% of the width and </a:t>
            </a:r>
            <a:r>
              <a:rPr lang="en-SG" dirty="0" err="1">
                <a:solidFill>
                  <a:schemeClr val="bg1"/>
                </a:solidFill>
              </a:rPr>
              <a:t>centered</a:t>
            </a:r>
            <a:endParaRPr lang="en-SG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C0334B-18CA-94C6-14D5-0A310E6C048C}"/>
              </a:ext>
            </a:extLst>
          </p:cNvPr>
          <p:cNvSpPr txBox="1"/>
          <p:nvPr/>
        </p:nvSpPr>
        <p:spPr>
          <a:xfrm>
            <a:off x="808113" y="765463"/>
            <a:ext cx="3877133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SG" dirty="0">
                <a:solidFill>
                  <a:schemeClr val="bg1"/>
                </a:solidFill>
              </a:rPr>
              <a:t>Phone Layout: Width &lt; 600px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en-SG" dirty="0">
                <a:solidFill>
                  <a:schemeClr val="bg1"/>
                </a:solidFill>
              </a:rPr>
              <a:t>On mobile, column width is col-12 and the form and content is the full width (with some padding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C103048-8F0B-EC18-065F-8FD32F79E8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4360" y="2016958"/>
            <a:ext cx="3816915" cy="41523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7AC1626-6C8A-FF0D-E5C7-D3514E24AA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47179" y="2016959"/>
            <a:ext cx="4680461" cy="4152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837228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0AE27034-78B5-8445-2360-6CB422AC65A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165405" y="870158"/>
            <a:ext cx="7861189" cy="2111581"/>
          </a:xfrm>
        </p:spPr>
        <p:txBody>
          <a:bodyPr/>
          <a:lstStyle/>
          <a:p>
            <a:pPr algn="ctr">
              <a:spcAft>
                <a:spcPts val="1000"/>
              </a:spcAft>
              <a:buSzPct val="100000"/>
            </a:pPr>
            <a:r>
              <a:rPr lang="en-US" sz="1600" b="0" kern="1200" dirty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rPr>
              <a:t>Desktop Layout: Width &gt;= 992px</a:t>
            </a:r>
          </a:p>
          <a:p>
            <a:pPr algn="ctr">
              <a:spcAft>
                <a:spcPts val="1000"/>
              </a:spcAft>
              <a:buSzPct val="100000"/>
            </a:pPr>
            <a:r>
              <a:rPr lang="en-US" sz="1600" b="0" kern="1200" dirty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rPr>
              <a:t>On desktop, column width is col-lg-6 and the form and content is 50% of the width and centered.</a:t>
            </a:r>
            <a:endParaRPr lang="en-US" sz="16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6C778ED-2DA9-E1EF-16CC-25740EABE803}"/>
              </a:ext>
            </a:extLst>
          </p:cNvPr>
          <p:cNvSpPr txBox="1"/>
          <p:nvPr/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1000"/>
              </a:spcAft>
              <a:buSzPct val="100000"/>
            </a:pPr>
            <a:endParaRPr lang="en-US" b="0" kern="1200" dirty="0">
              <a:solidFill>
                <a:schemeClr val="bg1"/>
              </a:solidFill>
              <a:latin typeface="Aptos" panose="020B000402020202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109E931-AF30-D327-F57A-AD10C802B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334099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b="1" kern="1200">
                <a:latin typeface="Aptos" panose="020B0004020202020204" pitchFamily="34" charset="0"/>
                <a:ea typeface="+mj-ea"/>
                <a:cs typeface="Calibri Light" panose="020F0302020204030204" pitchFamily="34" charset="0"/>
              </a:rPr>
              <a:t>Comparison of different layouts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2C60BF7-8CB4-2BC6-0893-D5DF97F2AA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3839" y="1914986"/>
            <a:ext cx="4644321" cy="4159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035067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F62602-3D4B-0206-EEA1-024554E124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A32C687-4E57-8F5E-BE1A-4DB8CE8AA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174280"/>
            <a:ext cx="11188700" cy="334099"/>
          </a:xfrm>
        </p:spPr>
        <p:txBody>
          <a:bodyPr/>
          <a:lstStyle/>
          <a:p>
            <a:r>
              <a:rPr lang="en-GB" b="1" dirty="0"/>
              <a:t>What I Learned from Building the Weather App</a:t>
            </a:r>
            <a:endParaRPr lang="en-US" b="1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CC687FE-36D3-3A12-170A-DDFC5B76F150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501650" y="740262"/>
            <a:ext cx="11032084" cy="5545277"/>
          </a:xfrm>
        </p:spPr>
        <p:txBody>
          <a:bodyPr vert="horz" lIns="0" tIns="0" rIns="0" bIns="0" rtlCol="0" anchor="t">
            <a:noAutofit/>
          </a:bodyPr>
          <a:lstStyle/>
          <a:p>
            <a:pPr marL="0" lvl="6" indent="0">
              <a:buNone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</a:rPr>
              <a:t>Key Discoveries</a:t>
            </a:r>
          </a:p>
          <a:p>
            <a:pPr marL="0" lvl="6" indent="0">
              <a:buNone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1. JSON is flexible &amp; easy to parse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  <a:p>
            <a:pPr marL="342900" lvl="6" indent="-34290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JSON structure makes it straightforward to extract weather details such as temperature, sky conditions and date.</a:t>
            </a:r>
          </a:p>
          <a:p>
            <a:pPr marL="0" lvl="8" indent="0">
              <a:buNone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2. REST APIs deliver real-time data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SG" sz="1400" dirty="0" err="1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OpenWeatherMap’s</a:t>
            </a: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 REST API let me pull dynamic data using just country input</a:t>
            </a:r>
          </a:p>
          <a:p>
            <a:pPr marL="0" lvl="6" indent="0">
              <a:buNone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3. </a:t>
            </a:r>
            <a:r>
              <a:rPr lang="en-SG" sz="1400" b="1" dirty="0" err="1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Axios</a:t>
            </a: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 simplifies asynchronous requests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Compared to fetch(), </a:t>
            </a:r>
            <a:r>
              <a:rPr lang="en-SG" sz="1400" dirty="0" err="1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Axios</a:t>
            </a: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 gave cleaner .then() chaining and better error handling with .catch()</a:t>
            </a:r>
          </a:p>
          <a:p>
            <a:pPr marL="0" lvl="6" indent="0">
              <a:buNone/>
            </a:pPr>
            <a:endParaRPr lang="en-SG" sz="14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  <a:p>
            <a:pPr marL="0" lvl="6" indent="0">
              <a:buNone/>
            </a:pPr>
            <a:r>
              <a:rPr lang="en-US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Responsiveness Insights:</a:t>
            </a:r>
          </a:p>
          <a:p>
            <a:pPr marL="0" lvl="6" indent="0">
              <a:buNone/>
            </a:pPr>
            <a:r>
              <a:rPr lang="en-US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1. Bootstrap grid enables mobile first design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I used col-12 col-md-8 col-lg-6 to ensure layout adapts across screen sizes</a:t>
            </a:r>
          </a:p>
          <a:p>
            <a:pPr marL="0" lvl="6" indent="0">
              <a:buNone/>
            </a:pPr>
            <a:r>
              <a:rPr lang="en-US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2. Clean separation of logic and layout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Logic was placed in handler functions such as </a:t>
            </a:r>
            <a:r>
              <a:rPr lang="en-US" sz="1400" dirty="0" err="1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handleSubmit</a:t>
            </a: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 for fetching the weather data while layout utilized Bootstrap’s </a:t>
            </a:r>
            <a:r>
              <a:rPr lang="en-US" sz="1400" dirty="0" err="1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resuable</a:t>
            </a: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 classes</a:t>
            </a:r>
          </a:p>
          <a:p>
            <a:pPr marL="0" lvl="6" indent="0">
              <a:buNone/>
            </a:pP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  <a:p>
            <a:pPr marL="0" lvl="6" indent="0">
              <a:buNone/>
            </a:pPr>
            <a:r>
              <a:rPr lang="en-US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Conclusion</a:t>
            </a:r>
          </a:p>
          <a:p>
            <a:pPr marL="0" lvl="6" indent="0">
              <a:buNone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This experiment showed how responsive layouts and live data integration work hand-in-hand to create a modern dynamic web experience. </a:t>
            </a:r>
          </a:p>
        </p:txBody>
      </p:sp>
    </p:spTree>
    <p:extLst>
      <p:ext uri="{BB962C8B-B14F-4D97-AF65-F5344CB8AC3E}">
        <p14:creationId xmlns:p14="http://schemas.microsoft.com/office/powerpoint/2010/main" val="73803041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9AE4FE-690E-CBD3-5D35-001DB9C67A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BB280D-FFDA-7D58-A800-5082990404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429547"/>
            <a:ext cx="4842705" cy="1725309"/>
          </a:xfrm>
        </p:spPr>
        <p:txBody>
          <a:bodyPr>
            <a:normAutofit/>
          </a:bodyPr>
          <a:lstStyle/>
          <a:p>
            <a:r>
              <a:rPr lang="en-GB" dirty="0">
                <a:latin typeface="Aptos"/>
                <a:ea typeface="Open Sans"/>
                <a:cs typeface="Open Sans"/>
              </a:rPr>
              <a:t>Connecting the Do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3FA2B8-B607-6112-D45B-1AC04952D8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4165" y="2253867"/>
            <a:ext cx="4443984" cy="156653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800" dirty="0"/>
              <a:t>Creating a weather app that utilizes both API calls and Bootstrap for its layout</a:t>
            </a:r>
          </a:p>
        </p:txBody>
      </p:sp>
    </p:spTree>
    <p:extLst>
      <p:ext uri="{BB962C8B-B14F-4D97-AF65-F5344CB8AC3E}">
        <p14:creationId xmlns:p14="http://schemas.microsoft.com/office/powerpoint/2010/main" val="946211072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F62602-3D4B-0206-EEA1-024554E124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A32C687-4E57-8F5E-BE1A-4DB8CE8AA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174280"/>
            <a:ext cx="11188700" cy="334099"/>
          </a:xfrm>
        </p:spPr>
        <p:txBody>
          <a:bodyPr/>
          <a:lstStyle/>
          <a:p>
            <a:r>
              <a:rPr lang="en-GB" b="1" dirty="0"/>
              <a:t>Bringing It All Together</a:t>
            </a:r>
            <a:endParaRPr lang="en-US" b="1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CC687FE-36D3-3A12-170A-DDFC5B76F150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501650" y="740262"/>
            <a:ext cx="11032084" cy="5545277"/>
          </a:xfrm>
        </p:spPr>
        <p:txBody>
          <a:bodyPr vert="horz" lIns="0" tIns="0" rIns="0" bIns="0" rtlCol="0" anchor="t">
            <a:noAutofit/>
          </a:bodyPr>
          <a:lstStyle/>
          <a:p>
            <a:pPr marL="0" lvl="6" indent="0">
              <a:buNone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</a:rPr>
              <a:t>Connecting the Two Topics</a:t>
            </a:r>
          </a:p>
          <a:p>
            <a:pPr marL="0" lvl="6" indent="0">
              <a:buNone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1. Topic 3 (Responsive Layouts) taught me how to design user-friendly interfaces across devices using: 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  <a:p>
            <a:pPr marL="342900" lvl="6" indent="-34290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CSS Grid &amp; Media Queries (raw CSS)</a:t>
            </a:r>
          </a:p>
          <a:p>
            <a:pPr marL="342900" lvl="6" indent="-34290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Boostrap’s</a:t>
            </a: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 mobile-first grid system</a:t>
            </a:r>
          </a:p>
          <a:p>
            <a:pPr marL="0" lvl="8" indent="0">
              <a:buNone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2. Topic 5 (Data &amp; Security) strengthened my understanding of: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JSON formatting and structure</a:t>
            </a:r>
          </a:p>
          <a:p>
            <a:pPr marL="285750" lvl="6" indent="-285750">
              <a:buFont typeface="Arial" panose="020B0604020202020204" pitchFamily="34" charset="0"/>
              <a:buChar char="•"/>
            </a:pP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Fetching and rendering live data using REST APIs and JavaScript (React + </a:t>
            </a:r>
            <a:r>
              <a:rPr lang="en-SG" sz="1400" dirty="0" err="1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Axios</a:t>
            </a: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)</a:t>
            </a:r>
          </a:p>
          <a:p>
            <a:pPr marL="0" lvl="6" indent="0">
              <a:buNone/>
            </a:pPr>
            <a:endParaRPr lang="en-SG" sz="14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  <a:p>
            <a:pPr marL="0" lvl="6" indent="0">
              <a:buNone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Key Takeaways</a:t>
            </a:r>
          </a:p>
          <a:p>
            <a:pPr marL="0" lvl="6" indent="0">
              <a:buNone/>
            </a:pP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I realized how frontend design and backend data integration must work together to build effective apps and how to manage API requests, error handing and conditional rendering in React. </a:t>
            </a:r>
          </a:p>
          <a:p>
            <a:pPr marL="0" lvl="6" indent="0">
              <a:buNone/>
            </a:pP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Bootstrap helped me quickly prototype a layout and using </a:t>
            </a:r>
            <a:r>
              <a:rPr lang="en-SG" sz="1400" dirty="0" err="1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axios</a:t>
            </a: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 allowed me to fetch and handle JSON data from the weather API.</a:t>
            </a:r>
          </a:p>
          <a:p>
            <a:pPr marL="0" lvl="6" indent="0">
              <a:buNone/>
            </a:pPr>
            <a:endParaRPr lang="en-SG" sz="14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  <a:p>
            <a:pPr marL="0" lvl="6" indent="0">
              <a:buNone/>
            </a:pPr>
            <a:r>
              <a:rPr lang="en-SG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Final Reflection</a:t>
            </a:r>
          </a:p>
          <a:p>
            <a:pPr marL="0" lvl="6" indent="0">
              <a:buNone/>
            </a:pP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This weather app project gave me hands-on experience in building a real world application and I could create an app that is responsive in design and data-driven. </a:t>
            </a:r>
          </a:p>
          <a:p>
            <a:pPr marL="0" lvl="6" indent="0">
              <a:buNone/>
            </a:pPr>
            <a:endParaRPr lang="en-SG" sz="14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48824726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5C6F2B-0F74-0A1F-D3E3-93E7FA9AB7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334099"/>
          </a:xfrm>
        </p:spPr>
        <p:txBody>
          <a:bodyPr anchor="ctr">
            <a:noAutofit/>
          </a:bodyPr>
          <a:lstStyle/>
          <a:p>
            <a:r>
              <a:rPr lang="en-US"/>
              <a:t>Location of Workbench templates</a:t>
            </a:r>
          </a:p>
        </p:txBody>
      </p:sp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45C0E7AF-5E7B-4283-49B8-71EA4941D3E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-3" b="1230"/>
          <a:stretch>
            <a:fillRect/>
          </a:stretch>
        </p:blipFill>
        <p:spPr>
          <a:xfrm>
            <a:off x="519372" y="1172240"/>
            <a:ext cx="7565390" cy="4352544"/>
          </a:xfrm>
          <a:prstGeom prst="rect">
            <a:avLst/>
          </a:prstGeom>
          <a:noFill/>
        </p:spPr>
      </p:pic>
      <p:pic>
        <p:nvPicPr>
          <p:cNvPr id="5" name="Picture 4" descr="A qr code on a green background&#10;&#10;AI-generated content may be incorrect.">
            <a:extLst>
              <a:ext uri="{FF2B5EF4-FFF2-40B4-BE49-F238E27FC236}">
                <a16:creationId xmlns:a16="http://schemas.microsoft.com/office/drawing/2014/main" id="{4C56012E-C3A4-77D2-30DB-512B6D7C99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45614" y="1355651"/>
            <a:ext cx="3075190" cy="3996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89955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02ED99C-64AE-D150-5C2D-A0A89714A1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A1D147-527A-D655-5697-564D1616B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429547"/>
            <a:ext cx="3876915" cy="1672147"/>
          </a:xfrm>
        </p:spPr>
        <p:txBody>
          <a:bodyPr>
            <a:normAutofit/>
          </a:bodyPr>
          <a:lstStyle/>
          <a:p>
            <a:r>
              <a:rPr lang="en-GB" dirty="0">
                <a:latin typeface="Aptos"/>
                <a:ea typeface="Open Sans"/>
                <a:cs typeface="Open Sans"/>
              </a:rPr>
              <a:t>Introduc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A7CA10-ECBA-884D-0DE4-5BC0EB4FA7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4165" y="2253867"/>
            <a:ext cx="4443984" cy="1566532"/>
          </a:xfrm>
        </p:spPr>
        <p:txBody>
          <a:bodyPr vert="horz" lIns="0" tIns="0" rIns="0" bIns="0" rtlCol="0" anchor="t">
            <a:noAutofit/>
          </a:bodyPr>
          <a:lstStyle/>
          <a:p>
            <a:endParaRPr lang="en-US" sz="1800" dirty="0"/>
          </a:p>
          <a:p>
            <a:pPr marL="457200" indent="-457200">
              <a:buFont typeface="Arial"/>
              <a:buChar char="•"/>
            </a:pPr>
            <a:r>
              <a:rPr lang="en-US" sz="1800" dirty="0">
                <a:latin typeface="Aptos"/>
                <a:cs typeface="Calibri Light"/>
              </a:rPr>
              <a:t>What the project is about</a:t>
            </a:r>
            <a:endParaRPr lang="en-US" sz="1800" dirty="0"/>
          </a:p>
          <a:p>
            <a:pPr marL="457200" indent="-457200">
              <a:buFont typeface="Arial"/>
              <a:buChar char="•"/>
            </a:pPr>
            <a:r>
              <a:rPr lang="en-US" sz="1800" dirty="0">
                <a:latin typeface="Aptos"/>
                <a:cs typeface="Calibri Light"/>
              </a:rPr>
              <a:t>Which two topics I chose and why</a:t>
            </a:r>
            <a:endParaRPr lang="en-US" sz="1800" dirty="0"/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6649515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F62602-3D4B-0206-EEA1-024554E124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A32C687-4E57-8F5E-BE1A-4DB8CE8AA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334099"/>
          </a:xfrm>
        </p:spPr>
        <p:txBody>
          <a:bodyPr/>
          <a:lstStyle/>
          <a:p>
            <a:r>
              <a:rPr lang="en-GB" b="1" dirty="0"/>
              <a:t>Exploring Responsive Layouts &amp; Dynamic Data in Web Development</a:t>
            </a:r>
            <a:endParaRPr lang="en-US" b="1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CC687FE-36D3-3A12-170A-DDFC5B76F150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501650" y="1070768"/>
            <a:ext cx="11533332" cy="4716463"/>
          </a:xfrm>
        </p:spPr>
        <p:txBody>
          <a:bodyPr vert="horz" lIns="0" tIns="0" rIns="0" bIns="0" rtlCol="0" anchor="t">
            <a:noAutofit/>
          </a:bodyPr>
          <a:lstStyle/>
          <a:p>
            <a:pPr marL="0" lvl="6" indent="0">
              <a:buNone/>
            </a:pPr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</a:rPr>
              <a:t>In this presentation, I explore two key topics from this course: </a:t>
            </a:r>
            <a:endParaRPr lang="en-SG" sz="14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  <a:p>
            <a:pPr marL="285750" lvl="6" indent="-285750"/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Topic 3: Layout for Different Devices</a:t>
            </a:r>
          </a:p>
          <a:p>
            <a:pPr marL="285750" lvl="6" indent="-285750"/>
            <a:r>
              <a:rPr lang="en-SG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Topic 5: Working with Data Sources and Data Security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  <a:p>
            <a:pPr marL="0" lvl="7" indent="0">
              <a:buNone/>
            </a:pP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  <a:p>
            <a:pPr marL="0" lvl="7" indent="0">
              <a:buNone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I chose these 2 topics as they are an accurate representation of web development in the real world, which needs to: </a:t>
            </a:r>
          </a:p>
          <a:p>
            <a:pPr marL="342900" lvl="7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Display content cleanly across different devices</a:t>
            </a:r>
          </a:p>
          <a:p>
            <a:pPr marL="342900" lvl="7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Fetch and handle live data securely</a:t>
            </a:r>
          </a:p>
          <a:p>
            <a:pPr marL="342900" lvl="7" indent="-342900">
              <a:buFont typeface="+mj-lt"/>
              <a:buAutoNum type="arabicPeriod"/>
            </a:pP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  <a:p>
            <a:pPr marL="0" lvl="7" indent="0">
              <a:buNone/>
            </a:pPr>
            <a:r>
              <a:rPr lang="en-GB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To bring these ideas to life, I will create a mini weather app as my experiment which would: </a:t>
            </a:r>
          </a:p>
          <a:p>
            <a:pPr marL="285750" lvl="7" indent="-285750"/>
            <a:r>
              <a:rPr lang="en-GB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Adapt its layout across screen sizes (Topic 3)</a:t>
            </a:r>
          </a:p>
          <a:p>
            <a:pPr marL="285750" lvl="7" indent="-285750"/>
            <a:r>
              <a:rPr lang="en-GB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Fetch live weather data from a REST API using JavaScript (Topic 5)</a:t>
            </a:r>
          </a:p>
          <a:p>
            <a:pPr marL="285750" lvl="7" indent="-285750"/>
            <a:endParaRPr lang="en-GB" sz="14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  <a:p>
            <a:pPr marL="0" lvl="7" indent="0">
              <a:buNone/>
            </a:pPr>
            <a:r>
              <a:rPr lang="en-GB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This project also draws on my experience with lab worksheets, course materials, and additional reading to deepen my technical understanding.</a:t>
            </a:r>
          </a:p>
          <a:p>
            <a:pPr marL="285750" lvl="7" indent="-285750"/>
            <a:endParaRPr lang="en-GB" sz="14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  <a:p>
            <a:pPr marL="0" lvl="7" indent="0">
              <a:buNone/>
            </a:pPr>
            <a:endParaRPr lang="en-GB" sz="14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  <a:p>
            <a:pPr marL="0" lvl="7" indent="0">
              <a:buNone/>
            </a:pP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659786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2ED99C-64AE-D150-5C2D-A0A89714A1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A1D147-527A-D655-5697-564D1616B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1555071"/>
            <a:ext cx="4841008" cy="1731762"/>
          </a:xfrm>
        </p:spPr>
        <p:txBody>
          <a:bodyPr>
            <a:normAutofit/>
          </a:bodyPr>
          <a:lstStyle/>
          <a:p>
            <a:r>
              <a:rPr lang="en-GB" sz="4000" dirty="0">
                <a:latin typeface="Aptos"/>
                <a:ea typeface="Open Sans"/>
                <a:cs typeface="Open Sans"/>
              </a:rPr>
              <a:t>Topic 3 Overview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C7DD5E-772B-D726-9351-56D0C3BE1F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G" sz="2000" dirty="0"/>
              <a:t>Responsive Layout for Different Devices</a:t>
            </a:r>
          </a:p>
        </p:txBody>
      </p:sp>
    </p:spTree>
    <p:extLst>
      <p:ext uri="{BB962C8B-B14F-4D97-AF65-F5344CB8AC3E}">
        <p14:creationId xmlns:p14="http://schemas.microsoft.com/office/powerpoint/2010/main" val="384807656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F62602-3D4B-0206-EEA1-024554E124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A32C687-4E57-8F5E-BE1A-4DB8CE8AA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334099"/>
          </a:xfrm>
        </p:spPr>
        <p:txBody>
          <a:bodyPr/>
          <a:lstStyle/>
          <a:p>
            <a:r>
              <a:rPr lang="en-GB" b="1" dirty="0"/>
              <a:t>Building Layouts That Adapt to Any Screen</a:t>
            </a:r>
            <a:endParaRPr lang="en-US" b="1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CC687FE-36D3-3A12-170A-DDFC5B76F150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501650" y="1070768"/>
            <a:ext cx="5205087" cy="5385116"/>
          </a:xfrm>
        </p:spPr>
        <p:txBody>
          <a:bodyPr vert="horz" lIns="0" tIns="0" rIns="0" bIns="0" rtlCol="0" anchor="t">
            <a:noAutofit/>
          </a:bodyPr>
          <a:lstStyle/>
          <a:p>
            <a:pPr marL="0" lvl="7" indent="0">
              <a:buNone/>
            </a:pPr>
            <a:r>
              <a: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What is Responsive CSS?</a:t>
            </a:r>
          </a:p>
          <a:p>
            <a:pPr marL="0" lvl="7" indent="0">
              <a:buNone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CSS that adapts layout and styles based on device characteristics like screen width using media queries</a:t>
            </a:r>
          </a:p>
          <a:p>
            <a:pPr marL="0" lvl="7" indent="0">
              <a:buNone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Users access websites from desktops, tablets and phones. A responsive layout ensures consistent usability and aesthetics across different devices</a:t>
            </a:r>
          </a:p>
          <a:p>
            <a:pPr marL="0" lvl="7" indent="0">
              <a:buNone/>
            </a:pPr>
            <a:r>
              <a:rPr lang="en-US" sz="16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Media Queries (example)</a:t>
            </a:r>
          </a:p>
          <a:p>
            <a:r>
              <a:rPr lang="en-SG" sz="12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@media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only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screen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and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SG" sz="12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in-width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768px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{</a:t>
            </a:r>
          </a:p>
          <a:p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D7BA7D"/>
                </a:solidFill>
                <a:effectLst/>
                <a:latin typeface="Consolas" panose="020B0609020204030204" pitchFamily="49" charset="0"/>
              </a:rPr>
              <a:t>.container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SG" sz="12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background-</a:t>
            </a:r>
            <a:r>
              <a:rPr lang="en-SG" sz="12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blue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lvl="7" indent="0">
              <a:buNone/>
            </a:pP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EF95AC55-5140-AA1A-E0C4-BE88B614C8A5}"/>
              </a:ext>
            </a:extLst>
          </p:cNvPr>
          <p:cNvSpPr txBox="1">
            <a:spLocks/>
          </p:cNvSpPr>
          <p:nvPr/>
        </p:nvSpPr>
        <p:spPr>
          <a:xfrm>
            <a:off x="6417327" y="1070768"/>
            <a:ext cx="5205087" cy="53851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7" indent="0">
              <a:buNone/>
            </a:pPr>
            <a:r>
              <a:rPr lang="en-US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Mobile-First Design</a:t>
            </a:r>
          </a:p>
          <a:p>
            <a:pPr marL="0" lvl="7" indent="0">
              <a:buNone/>
            </a:pP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Start with layout for small screens (1 column), then enhance for larger ones (e.g., 2 or 3 columns) </a:t>
            </a:r>
          </a:p>
          <a:p>
            <a:r>
              <a:rPr lang="en-SG" sz="1200" b="0" dirty="0">
                <a:solidFill>
                  <a:srgbClr val="D7BA7D"/>
                </a:solidFill>
                <a:effectLst/>
                <a:latin typeface="Consolas" panose="020B0609020204030204" pitchFamily="49" charset="0"/>
              </a:rPr>
              <a:t>.container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display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grid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grid-template-columns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fr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b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</a:br>
            <a:r>
              <a:rPr lang="en-SG" sz="12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@media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SG" sz="12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in-width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768px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{</a:t>
            </a:r>
          </a:p>
          <a:p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D7BA7D"/>
                </a:solidFill>
                <a:effectLst/>
                <a:latin typeface="Consolas" panose="020B0609020204030204" pitchFamily="49" charset="0"/>
              </a:rPr>
              <a:t>.container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SG" sz="1200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grid-template-columns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fr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 err="1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fr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 err="1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1fr</a:t>
            </a:r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SG" sz="1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pPr marL="0" lvl="7" indent="0">
              <a:buFont typeface="Verdana" panose="020B0604030504040204" pitchFamily="34" charset="0"/>
              <a:buNone/>
            </a:pPr>
            <a:r>
              <a:rPr lang="en-US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Browser Tools: </a:t>
            </a:r>
            <a:br>
              <a:rPr lang="en-US" sz="1400" b="1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</a:b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Use Chrome </a:t>
            </a:r>
            <a:r>
              <a:rPr lang="en-US" sz="1400" dirty="0" err="1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DevTools</a:t>
            </a:r>
            <a:r>
              <a:rPr lang="en-US" sz="1400" dirty="0">
                <a:solidFill>
                  <a:schemeClr val="bg1"/>
                </a:solidFill>
                <a:latin typeface="Aptos" panose="020B0004020202020204" pitchFamily="34" charset="0"/>
                <a:ea typeface="Calibri"/>
                <a:cs typeface="Calibri"/>
              </a:rPr>
              <a:t> Responsive Design Mode to preview layouts on different device sizes.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0410750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2ED99C-64AE-D150-5C2D-A0A89714A1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A1D147-527A-D655-5697-564D1616B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585" y="944378"/>
            <a:ext cx="4755242" cy="1566532"/>
          </a:xfrm>
        </p:spPr>
        <p:txBody>
          <a:bodyPr>
            <a:normAutofit fontScale="90000"/>
          </a:bodyPr>
          <a:lstStyle/>
          <a:p>
            <a:r>
              <a:rPr lang="en-GB" dirty="0">
                <a:latin typeface="Aptos"/>
                <a:ea typeface="Open Sans"/>
                <a:cs typeface="Open Sans"/>
              </a:rPr>
              <a:t>Experiment 1 Setup and Finding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A7CA10-ECBA-884D-0DE4-5BC0EB4FA7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1849" y="2768697"/>
            <a:ext cx="4443984" cy="156653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800" dirty="0"/>
              <a:t>Using raw CSS and Bootstrap’s Grid System and comparing the two</a:t>
            </a:r>
          </a:p>
        </p:txBody>
      </p:sp>
    </p:spTree>
    <p:extLst>
      <p:ext uri="{BB962C8B-B14F-4D97-AF65-F5344CB8AC3E}">
        <p14:creationId xmlns:p14="http://schemas.microsoft.com/office/powerpoint/2010/main" val="392508933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F62602-3D4B-0206-EEA1-024554E124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A32C687-4E57-8F5E-BE1A-4DB8CE8AA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150450"/>
            <a:ext cx="11188700" cy="334099"/>
          </a:xfrm>
        </p:spPr>
        <p:txBody>
          <a:bodyPr/>
          <a:lstStyle/>
          <a:p>
            <a:pPr algn="ctr"/>
            <a:r>
              <a:rPr lang="en-GB" b="1" dirty="0"/>
              <a:t>Example HTML </a:t>
            </a:r>
            <a:endParaRPr lang="en-US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1A998F-90E8-CC69-E45F-717F5D60B2E5}"/>
              </a:ext>
            </a:extLst>
          </p:cNvPr>
          <p:cNvSpPr txBox="1"/>
          <p:nvPr/>
        </p:nvSpPr>
        <p:spPr>
          <a:xfrm>
            <a:off x="2044012" y="936009"/>
            <a:ext cx="3067815" cy="5632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font-family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Arial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sans-serif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margin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padding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rem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background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#f4f4f4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b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</a:b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h2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text-align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 err="1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center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b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</a:b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.container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display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grid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grid-template-columns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fr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gap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rem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margin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auto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max-width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1200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px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b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</a:b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.box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background-</a:t>
            </a:r>
            <a:r>
              <a:rPr lang="en-SG" sz="1200" b="0" dirty="0" err="1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#007bff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SG" sz="1200" b="0" dirty="0" err="1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color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white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padding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rem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text-align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 err="1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center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border-radius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10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px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font-size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1.2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rem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b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</a:br>
            <a:endParaRPr lang="en-SG" sz="1200" b="0" dirty="0">
              <a:solidFill>
                <a:srgbClr val="E6EDF3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3E71515-A3E9-8E14-A064-6A92CECE64B9}"/>
              </a:ext>
            </a:extLst>
          </p:cNvPr>
          <p:cNvSpPr txBox="1"/>
          <p:nvPr/>
        </p:nvSpPr>
        <p:spPr>
          <a:xfrm>
            <a:off x="6750586" y="3736559"/>
            <a:ext cx="4939764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&lt;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h2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Responsive Grid Demo&lt;/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h2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&lt;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div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"container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&lt;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div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"box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1&lt;/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div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&lt;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div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"box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2&lt;/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div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&lt;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div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"box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3&lt;/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div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&lt;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div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"box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4&lt;/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div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&lt;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div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"box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5&lt;/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div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&lt;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div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class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SG" sz="1200" b="0" dirty="0">
                <a:solidFill>
                  <a:srgbClr val="A5D6FF"/>
                </a:solidFill>
                <a:effectLst/>
                <a:latin typeface="Consolas" panose="020B0609020204030204" pitchFamily="49" charset="0"/>
              </a:rPr>
              <a:t>"box"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6&lt;/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div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&lt;/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div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lt;/</a:t>
            </a:r>
            <a:r>
              <a:rPr lang="en-SG" sz="1200" b="0" dirty="0">
                <a:solidFill>
                  <a:srgbClr val="7EE787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&gt;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7544F2F-E4A4-0585-889D-C9CB2DF6663B}"/>
              </a:ext>
            </a:extLst>
          </p:cNvPr>
          <p:cNvSpPr txBox="1"/>
          <p:nvPr/>
        </p:nvSpPr>
        <p:spPr>
          <a:xfrm>
            <a:off x="6449991" y="920404"/>
            <a:ext cx="6097836" cy="24929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8B949E"/>
                </a:solidFill>
                <a:effectLst/>
                <a:latin typeface="Consolas" panose="020B0609020204030204" pitchFamily="49" charset="0"/>
              </a:rPr>
              <a:t>/* Tablet: 2 columns */</a:t>
            </a:r>
            <a:endParaRPr lang="en-SG" sz="1200" b="0" dirty="0">
              <a:solidFill>
                <a:srgbClr val="E6EDF3"/>
              </a:solidFill>
              <a:effectLst/>
              <a:latin typeface="Consolas" panose="020B0609020204030204" pitchFamily="49" charset="0"/>
            </a:endParaRP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@media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min-width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600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px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.container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grid-template-columns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repeat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fr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}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b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</a:b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8B949E"/>
                </a:solidFill>
                <a:effectLst/>
                <a:latin typeface="Consolas" panose="020B0609020204030204" pitchFamily="49" charset="0"/>
              </a:rPr>
              <a:t>/* Desktop: 3 columns */</a:t>
            </a:r>
            <a:endParaRPr lang="en-SG" sz="1200" b="0" dirty="0">
              <a:solidFill>
                <a:srgbClr val="E6EDF3"/>
              </a:solidFill>
              <a:effectLst/>
              <a:latin typeface="Consolas" panose="020B0609020204030204" pitchFamily="49" charset="0"/>
            </a:endParaRP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@media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min-width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992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px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.container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grid-template-columns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repeat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SG" sz="1200" b="0" dirty="0">
                <a:solidFill>
                  <a:srgbClr val="79C0F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SG" sz="1200" b="0" dirty="0">
                <a:solidFill>
                  <a:srgbClr val="FF7B72"/>
                </a:solidFill>
                <a:effectLst/>
                <a:latin typeface="Consolas" panose="020B0609020204030204" pitchFamily="49" charset="0"/>
              </a:rPr>
              <a:t>fr</a:t>
            </a:r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  }</a:t>
            </a:r>
          </a:p>
          <a:p>
            <a:r>
              <a:rPr lang="en-SG" sz="1200" b="0" dirty="0">
                <a:solidFill>
                  <a:srgbClr val="E6EDF3"/>
                </a:solidFill>
                <a:effectLst/>
                <a:latin typeface="Consolas" panose="020B0609020204030204" pitchFamily="49" charset="0"/>
              </a:rPr>
              <a:t>    }</a:t>
            </a:r>
          </a:p>
        </p:txBody>
      </p:sp>
    </p:spTree>
    <p:extLst>
      <p:ext uri="{BB962C8B-B14F-4D97-AF65-F5344CB8AC3E}">
        <p14:creationId xmlns:p14="http://schemas.microsoft.com/office/powerpoint/2010/main" val="200342899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109E931-AF30-D327-F57A-AD10C802B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GB" b="1" dirty="0"/>
              <a:t>Comparison of different layouts </a:t>
            </a:r>
            <a:endParaRPr lang="en-US" b="1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EE4A7EC-1017-0F09-CD7A-B26CE688F8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985" y="1511884"/>
            <a:ext cx="3993458" cy="4352544"/>
          </a:xfrm>
          <a:prstGeom prst="rect">
            <a:avLst/>
          </a:prstGeom>
          <a:noFill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7D862B2-CC09-C78F-173A-F2334EE003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6837" y="1525143"/>
            <a:ext cx="4863178" cy="4352544"/>
          </a:xfrm>
          <a:prstGeom prst="rect">
            <a:avLst/>
          </a:prstGeom>
          <a:noFill/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6C778ED-2DA9-E1EF-16CC-25740EABE803}"/>
              </a:ext>
            </a:extLst>
          </p:cNvPr>
          <p:cNvSpPr txBox="1"/>
          <p:nvPr/>
        </p:nvSpPr>
        <p:spPr>
          <a:xfrm>
            <a:off x="6941430" y="1109644"/>
            <a:ext cx="387713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SG" dirty="0">
                <a:solidFill>
                  <a:schemeClr val="bg1"/>
                </a:solidFill>
              </a:rPr>
              <a:t>Tablet Layout: Width &gt;= 600px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C0334B-18CA-94C6-14D5-0A310E6C048C}"/>
              </a:ext>
            </a:extLst>
          </p:cNvPr>
          <p:cNvSpPr txBox="1"/>
          <p:nvPr/>
        </p:nvSpPr>
        <p:spPr>
          <a:xfrm>
            <a:off x="830147" y="1109643"/>
            <a:ext cx="387713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SG" dirty="0">
                <a:solidFill>
                  <a:schemeClr val="bg1"/>
                </a:solidFill>
              </a:rPr>
              <a:t>Phone Layout: Width &lt; 600px</a:t>
            </a:r>
          </a:p>
        </p:txBody>
      </p:sp>
    </p:spTree>
    <p:extLst>
      <p:ext uri="{BB962C8B-B14F-4D97-AF65-F5344CB8AC3E}">
        <p14:creationId xmlns:p14="http://schemas.microsoft.com/office/powerpoint/2010/main" val="405837171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6A3E3B89BF5E4C9253BECE0569365D" ma:contentTypeVersion="4" ma:contentTypeDescription="Create a new document." ma:contentTypeScope="" ma:versionID="7b376e9353284ae6656f537d6136a3f8">
  <xsd:schema xmlns:xsd="http://www.w3.org/2001/XMLSchema" xmlns:xs="http://www.w3.org/2001/XMLSchema" xmlns:p="http://schemas.microsoft.com/office/2006/metadata/properties" xmlns:ns2="7e44e7a3-ee90-4038-b5b3-a56855577e95" targetNamespace="http://schemas.microsoft.com/office/2006/metadata/properties" ma:root="true" ma:fieldsID="4be3a3d1ff54a2cf694dfac2768af29f" ns2:_="">
    <xsd:import namespace="7e44e7a3-ee90-4038-b5b3-a56855577e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44e7a3-ee90-4038-b5b3-a56855577e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5679B37-5925-4045-B917-63AD2B1EF943}">
  <ds:schemaRefs>
    <ds:schemaRef ds:uri="7e44e7a3-ee90-4038-b5b3-a56855577e9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074E21E-CDF6-4F19-9076-D4FB8BAE443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3897AB9-3FED-4D17-849D-AEE350B3AEB4}">
  <ds:schemaRefs>
    <ds:schemaRef ds:uri="7e44e7a3-ee90-4038-b5b3-a56855577e9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692</TotalTime>
  <Words>2008</Words>
  <Application>Microsoft Office PowerPoint</Application>
  <PresentationFormat>Widescreen</PresentationFormat>
  <Paragraphs>308</Paragraphs>
  <Slides>25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Aptos</vt:lpstr>
      <vt:lpstr>Arial</vt:lpstr>
      <vt:lpstr>Calibri</vt:lpstr>
      <vt:lpstr>Calibri Light</vt:lpstr>
      <vt:lpstr>Consolas</vt:lpstr>
      <vt:lpstr>Verdana</vt:lpstr>
      <vt:lpstr>Deloitte Brand Theme</vt:lpstr>
      <vt:lpstr>think-cell Slide</vt:lpstr>
      <vt:lpstr>Weather App</vt:lpstr>
      <vt:lpstr>Agenda</vt:lpstr>
      <vt:lpstr>Introduction</vt:lpstr>
      <vt:lpstr>Exploring Responsive Layouts &amp; Dynamic Data in Web Development</vt:lpstr>
      <vt:lpstr>Topic 3 Overview</vt:lpstr>
      <vt:lpstr>Building Layouts That Adapt to Any Screen</vt:lpstr>
      <vt:lpstr>Experiment 1 Setup and Findings</vt:lpstr>
      <vt:lpstr>Example HTML </vt:lpstr>
      <vt:lpstr>Comparison of different layouts </vt:lpstr>
      <vt:lpstr>Comparison of different layouts </vt:lpstr>
      <vt:lpstr>Raw CSS Grid vs CSS Frameworks – Which Handles Responsiveness Better?</vt:lpstr>
      <vt:lpstr>Comparison of different layouts in Bootstrap </vt:lpstr>
      <vt:lpstr>Comparison of different layouts in Bootstrap </vt:lpstr>
      <vt:lpstr>How do Raw CSS and Bootstrap Compare for Responsive Layouts?</vt:lpstr>
      <vt:lpstr>Topic 5 Overview</vt:lpstr>
      <vt:lpstr>Understanding JSON and Accessing Local Data</vt:lpstr>
      <vt:lpstr>Retrieving Live Data from the Web with REST APIs</vt:lpstr>
      <vt:lpstr>Experiment 2 Setup and Findings</vt:lpstr>
      <vt:lpstr>Dynamic Weather App: Real-Time Data &amp; Responsive Design</vt:lpstr>
      <vt:lpstr>Comparison of different layouts </vt:lpstr>
      <vt:lpstr>Comparison of different layouts </vt:lpstr>
      <vt:lpstr>What I Learned from Building the Weather App</vt:lpstr>
      <vt:lpstr>Connecting the Dots</vt:lpstr>
      <vt:lpstr>Bringing It All Together</vt:lpstr>
      <vt:lpstr>Location of Workbench templat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h, Choon Siang</dc:creator>
  <cp:lastModifiedBy>Chow, Kit Ian</cp:lastModifiedBy>
  <cp:revision>8</cp:revision>
  <dcterms:created xsi:type="dcterms:W3CDTF">2024-07-22T09:53:13Z</dcterms:created>
  <dcterms:modified xsi:type="dcterms:W3CDTF">2025-06-29T04:1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4-07-22T09:53:23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1f393460-16a9-41c2-88d4-83812a45954d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806A3E3B89BF5E4C9253BECE0569365D</vt:lpwstr>
  </property>
</Properties>
</file>